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13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7" r:id="rId4"/>
    <p:sldMasterId id="2147484005" r:id="rId5"/>
    <p:sldMasterId id="2147483857" r:id="rId6"/>
    <p:sldMasterId id="2147483888" r:id="rId7"/>
    <p:sldMasterId id="2147483919" r:id="rId8"/>
    <p:sldMasterId id="2147484001" r:id="rId9"/>
  </p:sldMasterIdLst>
  <p:notesMasterIdLst>
    <p:notesMasterId r:id="rId18"/>
  </p:notesMasterIdLst>
  <p:sldIdLst>
    <p:sldId id="287" r:id="rId10"/>
    <p:sldId id="290" r:id="rId11"/>
    <p:sldId id="289" r:id="rId12"/>
    <p:sldId id="292" r:id="rId13"/>
    <p:sldId id="293" r:id="rId14"/>
    <p:sldId id="294" r:id="rId15"/>
    <p:sldId id="295" r:id="rId16"/>
    <p:sldId id="296" r:id="rId17"/>
  </p:sldIdLst>
  <p:sldSz cx="9144000" cy="6858000" type="screen4x3"/>
  <p:notesSz cx="6858000" cy="9144000"/>
  <p:custDataLst>
    <p:tags r:id="rId1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chémas sources FR" id="{D0CE08BB-02FB-401A-A418-9B218BAE372D}">
          <p14:sldIdLst>
            <p14:sldId id="287"/>
            <p14:sldId id="290"/>
            <p14:sldId id="289"/>
            <p14:sldId id="292"/>
          </p14:sldIdLst>
        </p14:section>
        <p14:section name="Schémas sources EN" id="{B338A29E-5EDB-4185-A2A8-C8DE859A58D0}">
          <p14:sldIdLst>
            <p14:sldId id="293"/>
            <p14:sldId id="294"/>
            <p14:sldId id="295"/>
            <p14:sldId id="29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7" pos="2880" userDrawn="1">
          <p15:clr>
            <a:srgbClr val="A4A3A4"/>
          </p15:clr>
        </p15:guide>
        <p15:guide id="8" pos="340" userDrawn="1">
          <p15:clr>
            <a:srgbClr val="A4A3A4"/>
          </p15:clr>
        </p15:guide>
        <p15:guide id="10" pos="5488" userDrawn="1">
          <p15:clr>
            <a:srgbClr val="A4A3A4"/>
          </p15:clr>
        </p15:guide>
        <p15:guide id="11" pos="3220" userDrawn="1">
          <p15:clr>
            <a:srgbClr val="A4A3A4"/>
          </p15:clr>
        </p15:guide>
        <p15:guide id="12" orient="horz" pos="1026" userDrawn="1">
          <p15:clr>
            <a:srgbClr val="A4A3A4"/>
          </p15:clr>
        </p15:guide>
        <p15:guide id="13" orient="horz" pos="23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B9D91"/>
    <a:srgbClr val="C2D8D0"/>
    <a:srgbClr val="D1E1DB"/>
    <a:srgbClr val="F2F4F2"/>
    <a:srgbClr val="E3EDE9"/>
    <a:srgbClr val="E3F2E9"/>
    <a:srgbClr val="DEE6E5"/>
    <a:srgbClr val="1BAE8F"/>
    <a:srgbClr val="FFFFFF"/>
    <a:srgbClr val="E3EE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E457C37-A310-4CAC-9ABD-45E9E8C1B35A}" v="1211" dt="2021-08-25T13:24:26.69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6" autoAdjust="0"/>
    <p:restoredTop sz="93792" autoAdjust="0"/>
  </p:normalViewPr>
  <p:slideViewPr>
    <p:cSldViewPr snapToGrid="0">
      <p:cViewPr varScale="1">
        <p:scale>
          <a:sx n="104" d="100"/>
          <a:sy n="104" d="100"/>
        </p:scale>
        <p:origin x="1116" y="114"/>
      </p:cViewPr>
      <p:guideLst>
        <p:guide orient="horz" pos="2160"/>
        <p:guide pos="2880"/>
        <p:guide pos="340"/>
        <p:guide pos="5488"/>
        <p:guide pos="3220"/>
        <p:guide orient="horz" pos="1026"/>
        <p:guide orient="horz" pos="2364"/>
      </p:guideLst>
    </p:cSldViewPr>
  </p:slideViewPr>
  <p:notesTextViewPr>
    <p:cViewPr>
      <p:scale>
        <a:sx n="66" d="100"/>
        <a:sy n="66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image" Target="../media/image34.jpg"/><Relationship Id="rId1" Type="http://schemas.openxmlformats.org/officeDocument/2006/relationships/themeOverride" Target="../theme/themeOverrid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image" Target="../media/image34.jpg"/><Relationship Id="rId1" Type="http://schemas.openxmlformats.org/officeDocument/2006/relationships/themeOverride" Target="../theme/themeOverride2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100"/>
            </a:pPr>
            <a:r>
              <a:rPr lang="en-US" sz="1100" dirty="0" err="1"/>
              <a:t>Ti</a:t>
            </a:r>
            <a:r>
              <a:rPr lang="en-US" sz="1100" dirty="0"/>
              <a:t> 6-4 prices (Aerospace quality)</a:t>
            </a:r>
          </a:p>
        </c:rich>
      </c:tx>
      <c:layout>
        <c:manualLayout>
          <c:xMode val="edge"/>
          <c:yMode val="edge"/>
          <c:x val="0.39717595294909552"/>
          <c:y val="9.722632072405897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1547424425507494"/>
          <c:y val="0.22804340834097706"/>
          <c:w val="0.65151949286178745"/>
          <c:h val="0.59115648365436924"/>
        </c:manualLayout>
      </c:layout>
      <c:lineChart>
        <c:grouping val="standard"/>
        <c:varyColors val="0"/>
        <c:ser>
          <c:idx val="0"/>
          <c:order val="0"/>
          <c:tx>
            <c:strRef>
              <c:f>Synthese!$B$4</c:f>
              <c:strCache>
                <c:ptCount val="1"/>
                <c:pt idx="0">
                  <c:v>Ingot Ti6-4</c:v>
                </c:pt>
              </c:strCache>
            </c:strRef>
          </c:tx>
          <c:spPr>
            <a:ln>
              <a:solidFill>
                <a:srgbClr val="515793"/>
              </a:solidFill>
            </a:ln>
          </c:spPr>
          <c:marker>
            <c:symbol val="none"/>
          </c:marker>
          <c:cat>
            <c:numRef>
              <c:f>Synthese!$A$5:$A$198</c:f>
              <c:numCache>
                <c:formatCode>[$-409]mmm\-yy;@</c:formatCode>
                <c:ptCount val="158"/>
                <c:pt idx="0">
                  <c:v>39539</c:v>
                </c:pt>
                <c:pt idx="1">
                  <c:v>39569</c:v>
                </c:pt>
                <c:pt idx="2">
                  <c:v>39600</c:v>
                </c:pt>
                <c:pt idx="3">
                  <c:v>39630</c:v>
                </c:pt>
                <c:pt idx="4">
                  <c:v>39661</c:v>
                </c:pt>
                <c:pt idx="5">
                  <c:v>39692</c:v>
                </c:pt>
                <c:pt idx="6">
                  <c:v>39722</c:v>
                </c:pt>
                <c:pt idx="7">
                  <c:v>39753</c:v>
                </c:pt>
                <c:pt idx="8">
                  <c:v>39783</c:v>
                </c:pt>
                <c:pt idx="9">
                  <c:v>39814</c:v>
                </c:pt>
                <c:pt idx="10">
                  <c:v>39845</c:v>
                </c:pt>
                <c:pt idx="11">
                  <c:v>39873</c:v>
                </c:pt>
                <c:pt idx="12">
                  <c:v>39904</c:v>
                </c:pt>
                <c:pt idx="13">
                  <c:v>39934</c:v>
                </c:pt>
                <c:pt idx="14">
                  <c:v>39965</c:v>
                </c:pt>
                <c:pt idx="15">
                  <c:v>39995</c:v>
                </c:pt>
                <c:pt idx="16">
                  <c:v>40026</c:v>
                </c:pt>
                <c:pt idx="17">
                  <c:v>40057</c:v>
                </c:pt>
                <c:pt idx="18">
                  <c:v>40087</c:v>
                </c:pt>
                <c:pt idx="19">
                  <c:v>40118</c:v>
                </c:pt>
                <c:pt idx="20">
                  <c:v>40148</c:v>
                </c:pt>
                <c:pt idx="21">
                  <c:v>40179</c:v>
                </c:pt>
                <c:pt idx="22">
                  <c:v>40210</c:v>
                </c:pt>
                <c:pt idx="23">
                  <c:v>40238</c:v>
                </c:pt>
                <c:pt idx="24">
                  <c:v>40269</c:v>
                </c:pt>
                <c:pt idx="25">
                  <c:v>40299</c:v>
                </c:pt>
                <c:pt idx="26">
                  <c:v>40330</c:v>
                </c:pt>
                <c:pt idx="27">
                  <c:v>40360</c:v>
                </c:pt>
                <c:pt idx="28">
                  <c:v>40391</c:v>
                </c:pt>
                <c:pt idx="29">
                  <c:v>40422</c:v>
                </c:pt>
                <c:pt idx="30">
                  <c:v>40452</c:v>
                </c:pt>
                <c:pt idx="31">
                  <c:v>40483</c:v>
                </c:pt>
                <c:pt idx="32">
                  <c:v>40513</c:v>
                </c:pt>
                <c:pt idx="33">
                  <c:v>40544</c:v>
                </c:pt>
                <c:pt idx="34">
                  <c:v>40575</c:v>
                </c:pt>
                <c:pt idx="35">
                  <c:v>40603</c:v>
                </c:pt>
                <c:pt idx="36">
                  <c:v>40634</c:v>
                </c:pt>
                <c:pt idx="37">
                  <c:v>40664</c:v>
                </c:pt>
                <c:pt idx="38">
                  <c:v>40695</c:v>
                </c:pt>
                <c:pt idx="39">
                  <c:v>40725</c:v>
                </c:pt>
                <c:pt idx="40">
                  <c:v>40756</c:v>
                </c:pt>
                <c:pt idx="41">
                  <c:v>40787</c:v>
                </c:pt>
                <c:pt idx="42">
                  <c:v>40817</c:v>
                </c:pt>
                <c:pt idx="43">
                  <c:v>40848</c:v>
                </c:pt>
                <c:pt idx="44">
                  <c:v>40878</c:v>
                </c:pt>
                <c:pt idx="45">
                  <c:v>40909</c:v>
                </c:pt>
                <c:pt idx="46">
                  <c:v>40940</c:v>
                </c:pt>
                <c:pt idx="47">
                  <c:v>40969</c:v>
                </c:pt>
                <c:pt idx="48">
                  <c:v>41000</c:v>
                </c:pt>
                <c:pt idx="49">
                  <c:v>41030</c:v>
                </c:pt>
                <c:pt idx="50">
                  <c:v>41061</c:v>
                </c:pt>
                <c:pt idx="51">
                  <c:v>41091</c:v>
                </c:pt>
                <c:pt idx="52">
                  <c:v>41122</c:v>
                </c:pt>
                <c:pt idx="53">
                  <c:v>41153</c:v>
                </c:pt>
                <c:pt idx="54">
                  <c:v>41183</c:v>
                </c:pt>
                <c:pt idx="55">
                  <c:v>41214</c:v>
                </c:pt>
                <c:pt idx="56">
                  <c:v>41244</c:v>
                </c:pt>
                <c:pt idx="57">
                  <c:v>41275</c:v>
                </c:pt>
                <c:pt idx="58">
                  <c:v>41306</c:v>
                </c:pt>
                <c:pt idx="59">
                  <c:v>41334</c:v>
                </c:pt>
                <c:pt idx="60">
                  <c:v>41365</c:v>
                </c:pt>
                <c:pt idx="61">
                  <c:v>41395</c:v>
                </c:pt>
                <c:pt idx="62">
                  <c:v>41426</c:v>
                </c:pt>
                <c:pt idx="63">
                  <c:v>41456</c:v>
                </c:pt>
                <c:pt idx="64">
                  <c:v>41487</c:v>
                </c:pt>
                <c:pt idx="65">
                  <c:v>41518</c:v>
                </c:pt>
                <c:pt idx="66">
                  <c:v>41548</c:v>
                </c:pt>
                <c:pt idx="67">
                  <c:v>41579</c:v>
                </c:pt>
                <c:pt idx="68">
                  <c:v>41609</c:v>
                </c:pt>
                <c:pt idx="69">
                  <c:v>41640</c:v>
                </c:pt>
                <c:pt idx="70">
                  <c:v>41671</c:v>
                </c:pt>
                <c:pt idx="71">
                  <c:v>41699</c:v>
                </c:pt>
                <c:pt idx="72">
                  <c:v>41730</c:v>
                </c:pt>
                <c:pt idx="73">
                  <c:v>41760</c:v>
                </c:pt>
                <c:pt idx="74">
                  <c:v>41791</c:v>
                </c:pt>
                <c:pt idx="75">
                  <c:v>41821</c:v>
                </c:pt>
                <c:pt idx="76">
                  <c:v>41852</c:v>
                </c:pt>
                <c:pt idx="77">
                  <c:v>41883</c:v>
                </c:pt>
                <c:pt idx="78">
                  <c:v>41913</c:v>
                </c:pt>
                <c:pt idx="79">
                  <c:v>41944</c:v>
                </c:pt>
                <c:pt idx="80">
                  <c:v>41974</c:v>
                </c:pt>
                <c:pt idx="81">
                  <c:v>42005</c:v>
                </c:pt>
                <c:pt idx="82">
                  <c:v>42036</c:v>
                </c:pt>
                <c:pt idx="83">
                  <c:v>42064</c:v>
                </c:pt>
                <c:pt idx="84">
                  <c:v>42095</c:v>
                </c:pt>
                <c:pt idx="85">
                  <c:v>42125</c:v>
                </c:pt>
                <c:pt idx="86">
                  <c:v>42156</c:v>
                </c:pt>
                <c:pt idx="87">
                  <c:v>42186</c:v>
                </c:pt>
                <c:pt idx="88">
                  <c:v>42217</c:v>
                </c:pt>
                <c:pt idx="89">
                  <c:v>42248</c:v>
                </c:pt>
                <c:pt idx="90">
                  <c:v>42278</c:v>
                </c:pt>
                <c:pt idx="91">
                  <c:v>42309</c:v>
                </c:pt>
                <c:pt idx="92">
                  <c:v>42339</c:v>
                </c:pt>
                <c:pt idx="93">
                  <c:v>42370</c:v>
                </c:pt>
                <c:pt idx="94">
                  <c:v>42401</c:v>
                </c:pt>
                <c:pt idx="95">
                  <c:v>42430</c:v>
                </c:pt>
                <c:pt idx="96">
                  <c:v>42461</c:v>
                </c:pt>
                <c:pt idx="97">
                  <c:v>42491</c:v>
                </c:pt>
                <c:pt idx="98">
                  <c:v>42522</c:v>
                </c:pt>
                <c:pt idx="99">
                  <c:v>42552</c:v>
                </c:pt>
                <c:pt idx="100">
                  <c:v>42583</c:v>
                </c:pt>
                <c:pt idx="101">
                  <c:v>42614</c:v>
                </c:pt>
                <c:pt idx="102">
                  <c:v>42644</c:v>
                </c:pt>
                <c:pt idx="103">
                  <c:v>42675</c:v>
                </c:pt>
                <c:pt idx="104">
                  <c:v>42705</c:v>
                </c:pt>
                <c:pt idx="105">
                  <c:v>42736</c:v>
                </c:pt>
                <c:pt idx="106">
                  <c:v>42767</c:v>
                </c:pt>
                <c:pt idx="107">
                  <c:v>42795</c:v>
                </c:pt>
                <c:pt idx="108">
                  <c:v>42826</c:v>
                </c:pt>
                <c:pt idx="109">
                  <c:v>42856</c:v>
                </c:pt>
                <c:pt idx="110">
                  <c:v>42887</c:v>
                </c:pt>
                <c:pt idx="111">
                  <c:v>42917</c:v>
                </c:pt>
                <c:pt idx="112">
                  <c:v>42948</c:v>
                </c:pt>
                <c:pt idx="113">
                  <c:v>42979</c:v>
                </c:pt>
                <c:pt idx="114">
                  <c:v>43009</c:v>
                </c:pt>
                <c:pt idx="115">
                  <c:v>43040</c:v>
                </c:pt>
                <c:pt idx="116">
                  <c:v>43070</c:v>
                </c:pt>
                <c:pt idx="117">
                  <c:v>43101</c:v>
                </c:pt>
                <c:pt idx="118">
                  <c:v>43132</c:v>
                </c:pt>
                <c:pt idx="119">
                  <c:v>43160</c:v>
                </c:pt>
                <c:pt idx="120">
                  <c:v>43191</c:v>
                </c:pt>
                <c:pt idx="121">
                  <c:v>43221</c:v>
                </c:pt>
                <c:pt idx="122">
                  <c:v>43252</c:v>
                </c:pt>
                <c:pt idx="123">
                  <c:v>43282</c:v>
                </c:pt>
                <c:pt idx="124">
                  <c:v>43313</c:v>
                </c:pt>
                <c:pt idx="125">
                  <c:v>43344</c:v>
                </c:pt>
                <c:pt idx="126">
                  <c:v>43374</c:v>
                </c:pt>
                <c:pt idx="127">
                  <c:v>43405</c:v>
                </c:pt>
                <c:pt idx="128">
                  <c:v>43435</c:v>
                </c:pt>
                <c:pt idx="129">
                  <c:v>43466</c:v>
                </c:pt>
                <c:pt idx="130">
                  <c:v>43497</c:v>
                </c:pt>
                <c:pt idx="131">
                  <c:v>43525</c:v>
                </c:pt>
                <c:pt idx="132">
                  <c:v>43556</c:v>
                </c:pt>
                <c:pt idx="133">
                  <c:v>43586</c:v>
                </c:pt>
                <c:pt idx="134">
                  <c:v>43617</c:v>
                </c:pt>
                <c:pt idx="135">
                  <c:v>43647</c:v>
                </c:pt>
                <c:pt idx="136">
                  <c:v>43678</c:v>
                </c:pt>
                <c:pt idx="137">
                  <c:v>43709</c:v>
                </c:pt>
                <c:pt idx="138">
                  <c:v>43739</c:v>
                </c:pt>
                <c:pt idx="139">
                  <c:v>43770</c:v>
                </c:pt>
                <c:pt idx="140">
                  <c:v>43800</c:v>
                </c:pt>
                <c:pt idx="141">
                  <c:v>43831</c:v>
                </c:pt>
                <c:pt idx="142">
                  <c:v>43862</c:v>
                </c:pt>
                <c:pt idx="143">
                  <c:v>43891</c:v>
                </c:pt>
                <c:pt idx="144">
                  <c:v>43922</c:v>
                </c:pt>
                <c:pt idx="145">
                  <c:v>43952</c:v>
                </c:pt>
                <c:pt idx="146">
                  <c:v>43983</c:v>
                </c:pt>
                <c:pt idx="147">
                  <c:v>44013</c:v>
                </c:pt>
                <c:pt idx="148">
                  <c:v>44044</c:v>
                </c:pt>
                <c:pt idx="149">
                  <c:v>44075</c:v>
                </c:pt>
                <c:pt idx="150">
                  <c:v>44105</c:v>
                </c:pt>
                <c:pt idx="151">
                  <c:v>44136</c:v>
                </c:pt>
                <c:pt idx="152">
                  <c:v>44166</c:v>
                </c:pt>
                <c:pt idx="153">
                  <c:v>44197</c:v>
                </c:pt>
                <c:pt idx="154">
                  <c:v>44228</c:v>
                </c:pt>
                <c:pt idx="155">
                  <c:v>44256</c:v>
                </c:pt>
                <c:pt idx="156">
                  <c:v>44287</c:v>
                </c:pt>
                <c:pt idx="157">
                  <c:v>44317</c:v>
                </c:pt>
              </c:numCache>
            </c:numRef>
          </c:cat>
          <c:val>
            <c:numRef>
              <c:f>Synthese!$B$5:$B$198</c:f>
              <c:numCache>
                <c:formatCode>General</c:formatCode>
                <c:ptCount val="158"/>
                <c:pt idx="0">
                  <c:v>38.856999999999999</c:v>
                </c:pt>
                <c:pt idx="1">
                  <c:v>37.271999999999998</c:v>
                </c:pt>
                <c:pt idx="2">
                  <c:v>36.375999999999998</c:v>
                </c:pt>
                <c:pt idx="3">
                  <c:v>36.375999999999998</c:v>
                </c:pt>
                <c:pt idx="4">
                  <c:v>34.033999999999999</c:v>
                </c:pt>
                <c:pt idx="5">
                  <c:v>32.243000000000002</c:v>
                </c:pt>
                <c:pt idx="6">
                  <c:v>30.864999999999998</c:v>
                </c:pt>
                <c:pt idx="7">
                  <c:v>30.864999999999998</c:v>
                </c:pt>
                <c:pt idx="8">
                  <c:v>30.314</c:v>
                </c:pt>
                <c:pt idx="9">
                  <c:v>30.314</c:v>
                </c:pt>
                <c:pt idx="10">
                  <c:v>28.66</c:v>
                </c:pt>
                <c:pt idx="11">
                  <c:v>26.731000000000002</c:v>
                </c:pt>
                <c:pt idx="12">
                  <c:v>23.7</c:v>
                </c:pt>
                <c:pt idx="13">
                  <c:v>23.241</c:v>
                </c:pt>
                <c:pt idx="14">
                  <c:v>21.459</c:v>
                </c:pt>
                <c:pt idx="15">
                  <c:v>20.393000000000001</c:v>
                </c:pt>
                <c:pt idx="16">
                  <c:v>19.98</c:v>
                </c:pt>
                <c:pt idx="17">
                  <c:v>18.739000000000001</c:v>
                </c:pt>
                <c:pt idx="18">
                  <c:v>18.821999999999999</c:v>
                </c:pt>
                <c:pt idx="19">
                  <c:v>18.657</c:v>
                </c:pt>
                <c:pt idx="20">
                  <c:v>18.684000000000001</c:v>
                </c:pt>
                <c:pt idx="21">
                  <c:v>18.739000000000001</c:v>
                </c:pt>
                <c:pt idx="22">
                  <c:v>19.318000000000001</c:v>
                </c:pt>
                <c:pt idx="23">
                  <c:v>19.978999999999999</c:v>
                </c:pt>
                <c:pt idx="24">
                  <c:v>20.393000000000001</c:v>
                </c:pt>
                <c:pt idx="25">
                  <c:v>21.771000000000001</c:v>
                </c:pt>
                <c:pt idx="26">
                  <c:v>22.321999999999999</c:v>
                </c:pt>
                <c:pt idx="27">
                  <c:v>23.423999999999999</c:v>
                </c:pt>
                <c:pt idx="28">
                  <c:v>23.423999999999999</c:v>
                </c:pt>
                <c:pt idx="29">
                  <c:v>24.251000000000001</c:v>
                </c:pt>
                <c:pt idx="30">
                  <c:v>24.527000000000001</c:v>
                </c:pt>
                <c:pt idx="31">
                  <c:v>25.353000000000002</c:v>
                </c:pt>
                <c:pt idx="32">
                  <c:v>26.18</c:v>
                </c:pt>
                <c:pt idx="33">
                  <c:v>26.456</c:v>
                </c:pt>
                <c:pt idx="34">
                  <c:v>26.594000000000001</c:v>
                </c:pt>
                <c:pt idx="35">
                  <c:v>26.731000000000002</c:v>
                </c:pt>
                <c:pt idx="36">
                  <c:v>26.731000000000002</c:v>
                </c:pt>
                <c:pt idx="37">
                  <c:v>27.283000000000001</c:v>
                </c:pt>
                <c:pt idx="38">
                  <c:v>27.283000000000001</c:v>
                </c:pt>
                <c:pt idx="39">
                  <c:v>27.283000000000001</c:v>
                </c:pt>
                <c:pt idx="40">
                  <c:v>27.283000000000001</c:v>
                </c:pt>
                <c:pt idx="41">
                  <c:v>27.779</c:v>
                </c:pt>
                <c:pt idx="42">
                  <c:v>27.834</c:v>
                </c:pt>
                <c:pt idx="43">
                  <c:v>27.834</c:v>
                </c:pt>
                <c:pt idx="44">
                  <c:v>27.834</c:v>
                </c:pt>
                <c:pt idx="45">
                  <c:v>26.456</c:v>
                </c:pt>
                <c:pt idx="46">
                  <c:v>25.904</c:v>
                </c:pt>
                <c:pt idx="47">
                  <c:v>25.904</c:v>
                </c:pt>
                <c:pt idx="48">
                  <c:v>25.076000000000001</c:v>
                </c:pt>
                <c:pt idx="49">
                  <c:v>25.0776</c:v>
                </c:pt>
                <c:pt idx="50">
                  <c:v>24.802</c:v>
                </c:pt>
                <c:pt idx="51">
                  <c:v>24.802</c:v>
                </c:pt>
                <c:pt idx="52" formatCode="0.000">
                  <c:v>23.6997</c:v>
                </c:pt>
                <c:pt idx="53" formatCode="0.000">
                  <c:v>23.424099999999999</c:v>
                </c:pt>
                <c:pt idx="54" formatCode="0.000">
                  <c:v>23.424099999999999</c:v>
                </c:pt>
                <c:pt idx="55" formatCode="0.000">
                  <c:v>23.424099999999999</c:v>
                </c:pt>
                <c:pt idx="56" formatCode="0.000">
                  <c:v>23.369</c:v>
                </c:pt>
                <c:pt idx="57" formatCode="0.000">
                  <c:v>22.872900000000001</c:v>
                </c:pt>
                <c:pt idx="58" formatCode="0.000">
                  <c:v>22.872900000000001</c:v>
                </c:pt>
                <c:pt idx="59" formatCode="0.000">
                  <c:v>22.5974</c:v>
                </c:pt>
                <c:pt idx="60" formatCode="0.000">
                  <c:v>22.5974</c:v>
                </c:pt>
                <c:pt idx="61" formatCode="0.000">
                  <c:v>22.5974</c:v>
                </c:pt>
                <c:pt idx="62" formatCode="0.000">
                  <c:v>22.3218</c:v>
                </c:pt>
                <c:pt idx="63" formatCode="0.000">
                  <c:v>21.770600000000002</c:v>
                </c:pt>
                <c:pt idx="64" formatCode="0.000">
                  <c:v>21.109200000000001</c:v>
                </c:pt>
                <c:pt idx="65" formatCode="0.000">
                  <c:v>20.8888</c:v>
                </c:pt>
                <c:pt idx="66" formatCode="0.000">
                  <c:v>20.5305</c:v>
                </c:pt>
                <c:pt idx="67" formatCode="0.000">
                  <c:v>20.337599999999998</c:v>
                </c:pt>
                <c:pt idx="68" formatCode="0.000">
                  <c:v>19.676200000000001</c:v>
                </c:pt>
                <c:pt idx="69" formatCode="0.000">
                  <c:v>19.180199999999999</c:v>
                </c:pt>
                <c:pt idx="70" formatCode="0.000">
                  <c:v>19.07</c:v>
                </c:pt>
                <c:pt idx="71" formatCode="0.000">
                  <c:v>18.188099999999999</c:v>
                </c:pt>
                <c:pt idx="72" formatCode="0.000">
                  <c:v>18.187999999999999</c:v>
                </c:pt>
                <c:pt idx="73" formatCode="0.000">
                  <c:v>18.684000000000001</c:v>
                </c:pt>
                <c:pt idx="74" formatCode="0.000">
                  <c:v>18.463000000000001</c:v>
                </c:pt>
                <c:pt idx="75" formatCode="0.000">
                  <c:v>19.014847499999998</c:v>
                </c:pt>
                <c:pt idx="76" formatCode="0.000">
                  <c:v>19.014847499999998</c:v>
                </c:pt>
                <c:pt idx="77" formatCode="0.000">
                  <c:v>19.014847499999998</c:v>
                </c:pt>
                <c:pt idx="78" formatCode="0.000">
                  <c:v>19.014847499999998</c:v>
                </c:pt>
                <c:pt idx="79" formatCode="0.000">
                  <c:v>19.014847499999998</c:v>
                </c:pt>
                <c:pt idx="80" formatCode="0.000">
                  <c:v>19.014847499999998</c:v>
                </c:pt>
                <c:pt idx="81" formatCode="0.000">
                  <c:v>19.014847499999998</c:v>
                </c:pt>
                <c:pt idx="82" formatCode="0.000">
                  <c:v>19.014847499999998</c:v>
                </c:pt>
                <c:pt idx="83" formatCode="0.000">
                  <c:v>19.014847499999998</c:v>
                </c:pt>
                <c:pt idx="84" formatCode="0.000">
                  <c:v>19.014847499999998</c:v>
                </c:pt>
                <c:pt idx="85" formatCode="0.000">
                  <c:v>19.014847499999998</c:v>
                </c:pt>
                <c:pt idx="86" formatCode="0.000">
                  <c:v>19.014847499999998</c:v>
                </c:pt>
                <c:pt idx="87" formatCode="0.000">
                  <c:v>19.014847499999998</c:v>
                </c:pt>
                <c:pt idx="88" formatCode="0.000">
                  <c:v>18.7393</c:v>
                </c:pt>
                <c:pt idx="89" formatCode="0.000">
                  <c:v>18.7393</c:v>
                </c:pt>
                <c:pt idx="90" formatCode="0.000">
                  <c:v>18.7393</c:v>
                </c:pt>
                <c:pt idx="91" formatCode="0.000">
                  <c:v>18.7393</c:v>
                </c:pt>
                <c:pt idx="92" formatCode="0.000">
                  <c:v>18.188099999999999</c:v>
                </c:pt>
                <c:pt idx="93" formatCode="0.000">
                  <c:v>18.188099999999999</c:v>
                </c:pt>
                <c:pt idx="94" formatCode="0.000">
                  <c:v>18.188099999999999</c:v>
                </c:pt>
                <c:pt idx="95" formatCode="0.000">
                  <c:v>18.188099999999999</c:v>
                </c:pt>
                <c:pt idx="96" formatCode="0.000">
                  <c:v>17.911999999999999</c:v>
                </c:pt>
                <c:pt idx="97" formatCode="0.000">
                  <c:v>17.912500000000001</c:v>
                </c:pt>
                <c:pt idx="98" formatCode="0.000">
                  <c:v>17.913</c:v>
                </c:pt>
                <c:pt idx="99" formatCode="0.000">
                  <c:v>17.912500000000001</c:v>
                </c:pt>
                <c:pt idx="100" formatCode="0.000">
                  <c:v>17.3614</c:v>
                </c:pt>
                <c:pt idx="101" formatCode="0.000">
                  <c:v>17.3614</c:v>
                </c:pt>
                <c:pt idx="102" formatCode="0.000">
                  <c:v>17.085799999999999</c:v>
                </c:pt>
                <c:pt idx="103" formatCode="0.000">
                  <c:v>17.085799999999999</c:v>
                </c:pt>
                <c:pt idx="104" formatCode="0.000">
                  <c:v>17.637</c:v>
                </c:pt>
                <c:pt idx="105" formatCode="0.000">
                  <c:v>18.188099999999999</c:v>
                </c:pt>
                <c:pt idx="106" formatCode="0.000">
                  <c:v>18.463999999999999</c:v>
                </c:pt>
                <c:pt idx="107" formatCode="0.000">
                  <c:v>18.463999999999999</c:v>
                </c:pt>
                <c:pt idx="108" formatCode="0.000">
                  <c:v>18.463999999999999</c:v>
                </c:pt>
                <c:pt idx="109" formatCode="0.000">
                  <c:v>18.463699999999999</c:v>
                </c:pt>
                <c:pt idx="110" formatCode="0.000">
                  <c:v>18.0779</c:v>
                </c:pt>
                <c:pt idx="111" formatCode="0.000">
                  <c:v>18.0779</c:v>
                </c:pt>
                <c:pt idx="112" formatCode="0.000">
                  <c:v>17.912500000000001</c:v>
                </c:pt>
                <c:pt idx="113" formatCode="0.000">
                  <c:v>17.912500000000001</c:v>
                </c:pt>
                <c:pt idx="114" formatCode="0.000">
                  <c:v>17.912500000000001</c:v>
                </c:pt>
                <c:pt idx="115" formatCode="0.000">
                  <c:v>17.912500000000001</c:v>
                </c:pt>
                <c:pt idx="116" formatCode="0.000">
                  <c:v>17.912500000000001</c:v>
                </c:pt>
                <c:pt idx="117" formatCode="0.000">
                  <c:v>17.912500000000001</c:v>
                </c:pt>
                <c:pt idx="118" formatCode="0.000">
                  <c:v>19.912500000000001</c:v>
                </c:pt>
                <c:pt idx="119" formatCode="0.000">
                  <c:v>18.684200000000001</c:v>
                </c:pt>
                <c:pt idx="120" formatCode="0.000">
                  <c:v>18.573899999999998</c:v>
                </c:pt>
                <c:pt idx="121" formatCode="0.000">
                  <c:v>18.904599999999999</c:v>
                </c:pt>
                <c:pt idx="122" formatCode="0.000">
                  <c:v>18.905000000000001</c:v>
                </c:pt>
                <c:pt idx="123" formatCode="0.000">
                  <c:v>19.234999999999999</c:v>
                </c:pt>
                <c:pt idx="124" formatCode="0.000">
                  <c:v>19.234999999999999</c:v>
                </c:pt>
                <c:pt idx="125" formatCode="0.000">
                  <c:v>19.234999999999999</c:v>
                </c:pt>
                <c:pt idx="126" formatCode="0.000">
                  <c:v>19.400700000000001</c:v>
                </c:pt>
                <c:pt idx="127" formatCode="0.000">
                  <c:v>19.400700000000001</c:v>
                </c:pt>
                <c:pt idx="128" formatCode="0.000">
                  <c:v>19.400700000000001</c:v>
                </c:pt>
                <c:pt idx="129" formatCode="0.000">
                  <c:v>19.400700000000001</c:v>
                </c:pt>
                <c:pt idx="130" formatCode="0.000">
                  <c:v>20.8337</c:v>
                </c:pt>
                <c:pt idx="131" formatCode="0.000">
                  <c:v>21.054099999999998</c:v>
                </c:pt>
                <c:pt idx="132" formatCode="0.000">
                  <c:v>21.715499999999999</c:v>
                </c:pt>
                <c:pt idx="133" formatCode="0.000">
                  <c:v>22.3218</c:v>
                </c:pt>
                <c:pt idx="134" formatCode="0.000">
                  <c:v>22.3218</c:v>
                </c:pt>
                <c:pt idx="135" formatCode="0.000">
                  <c:v>22.3218</c:v>
                </c:pt>
                <c:pt idx="136" formatCode="0.000">
                  <c:v>22.3218</c:v>
                </c:pt>
                <c:pt idx="137" formatCode="0.000">
                  <c:v>22.762699999999999</c:v>
                </c:pt>
                <c:pt idx="138" formatCode="0.000">
                  <c:v>22.762699999999999</c:v>
                </c:pt>
                <c:pt idx="139" formatCode="0.000">
                  <c:v>22.6525</c:v>
                </c:pt>
                <c:pt idx="140" formatCode="0.000">
                  <c:v>22.6525</c:v>
                </c:pt>
                <c:pt idx="141" formatCode="0.000">
                  <c:v>22.6525</c:v>
                </c:pt>
                <c:pt idx="142" formatCode="0.000">
                  <c:v>22.6525</c:v>
                </c:pt>
                <c:pt idx="143" formatCode="0.000">
                  <c:v>22.101299999999998</c:v>
                </c:pt>
                <c:pt idx="144" formatCode="0.000">
                  <c:v>17.637</c:v>
                </c:pt>
                <c:pt idx="145" formatCode="0.000">
                  <c:v>17.637</c:v>
                </c:pt>
                <c:pt idx="146" formatCode="0.000">
                  <c:v>17.416499999999999</c:v>
                </c:pt>
                <c:pt idx="147" formatCode="0.000">
                  <c:v>16.865300000000001</c:v>
                </c:pt>
                <c:pt idx="148" formatCode="0.000">
                  <c:v>16.865300000000001</c:v>
                </c:pt>
                <c:pt idx="149" formatCode="0.000">
                  <c:v>18.188099999999999</c:v>
                </c:pt>
                <c:pt idx="150" formatCode="0.000">
                  <c:v>18.132999999999999</c:v>
                </c:pt>
                <c:pt idx="151" formatCode="0.000">
                  <c:v>18.132999999999999</c:v>
                </c:pt>
                <c:pt idx="152" formatCode="0.000">
                  <c:v>18.132999999999999</c:v>
                </c:pt>
                <c:pt idx="153" formatCode="0.000">
                  <c:v>18.132999999999999</c:v>
                </c:pt>
                <c:pt idx="154" formatCode="0.000">
                  <c:v>17.3614</c:v>
                </c:pt>
                <c:pt idx="155" formatCode="0.000">
                  <c:v>17.3614</c:v>
                </c:pt>
                <c:pt idx="156" formatCode="0.000">
                  <c:v>17.3614</c:v>
                </c:pt>
                <c:pt idx="157" formatCode="0.000">
                  <c:v>17.36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73B-4C82-94E3-622C968FEEC2}"/>
            </c:ext>
          </c:extLst>
        </c:ser>
        <c:ser>
          <c:idx val="1"/>
          <c:order val="1"/>
          <c:tx>
            <c:strRef>
              <c:f>Synthese!$C$4</c:f>
              <c:strCache>
                <c:ptCount val="1"/>
                <c:pt idx="0">
                  <c:v>Solids</c:v>
                </c:pt>
              </c:strCache>
            </c:strRef>
          </c:tx>
          <c:spPr>
            <a:ln>
              <a:solidFill>
                <a:srgbClr val="1B9D91"/>
              </a:solidFill>
            </a:ln>
          </c:spPr>
          <c:marker>
            <c:symbol val="none"/>
          </c:marker>
          <c:cat>
            <c:numRef>
              <c:f>Synthese!$A$5:$A$198</c:f>
              <c:numCache>
                <c:formatCode>[$-409]mmm\-yy;@</c:formatCode>
                <c:ptCount val="158"/>
                <c:pt idx="0">
                  <c:v>39539</c:v>
                </c:pt>
                <c:pt idx="1">
                  <c:v>39569</c:v>
                </c:pt>
                <c:pt idx="2">
                  <c:v>39600</c:v>
                </c:pt>
                <c:pt idx="3">
                  <c:v>39630</c:v>
                </c:pt>
                <c:pt idx="4">
                  <c:v>39661</c:v>
                </c:pt>
                <c:pt idx="5">
                  <c:v>39692</c:v>
                </c:pt>
                <c:pt idx="6">
                  <c:v>39722</c:v>
                </c:pt>
                <c:pt idx="7">
                  <c:v>39753</c:v>
                </c:pt>
                <c:pt idx="8">
                  <c:v>39783</c:v>
                </c:pt>
                <c:pt idx="9">
                  <c:v>39814</c:v>
                </c:pt>
                <c:pt idx="10">
                  <c:v>39845</c:v>
                </c:pt>
                <c:pt idx="11">
                  <c:v>39873</c:v>
                </c:pt>
                <c:pt idx="12">
                  <c:v>39904</c:v>
                </c:pt>
                <c:pt idx="13">
                  <c:v>39934</c:v>
                </c:pt>
                <c:pt idx="14">
                  <c:v>39965</c:v>
                </c:pt>
                <c:pt idx="15">
                  <c:v>39995</c:v>
                </c:pt>
                <c:pt idx="16">
                  <c:v>40026</c:v>
                </c:pt>
                <c:pt idx="17">
                  <c:v>40057</c:v>
                </c:pt>
                <c:pt idx="18">
                  <c:v>40087</c:v>
                </c:pt>
                <c:pt idx="19">
                  <c:v>40118</c:v>
                </c:pt>
                <c:pt idx="20">
                  <c:v>40148</c:v>
                </c:pt>
                <c:pt idx="21">
                  <c:v>40179</c:v>
                </c:pt>
                <c:pt idx="22">
                  <c:v>40210</c:v>
                </c:pt>
                <c:pt idx="23">
                  <c:v>40238</c:v>
                </c:pt>
                <c:pt idx="24">
                  <c:v>40269</c:v>
                </c:pt>
                <c:pt idx="25">
                  <c:v>40299</c:v>
                </c:pt>
                <c:pt idx="26">
                  <c:v>40330</c:v>
                </c:pt>
                <c:pt idx="27">
                  <c:v>40360</c:v>
                </c:pt>
                <c:pt idx="28">
                  <c:v>40391</c:v>
                </c:pt>
                <c:pt idx="29">
                  <c:v>40422</c:v>
                </c:pt>
                <c:pt idx="30">
                  <c:v>40452</c:v>
                </c:pt>
                <c:pt idx="31">
                  <c:v>40483</c:v>
                </c:pt>
                <c:pt idx="32">
                  <c:v>40513</c:v>
                </c:pt>
                <c:pt idx="33">
                  <c:v>40544</c:v>
                </c:pt>
                <c:pt idx="34">
                  <c:v>40575</c:v>
                </c:pt>
                <c:pt idx="35">
                  <c:v>40603</c:v>
                </c:pt>
                <c:pt idx="36">
                  <c:v>40634</c:v>
                </c:pt>
                <c:pt idx="37">
                  <c:v>40664</c:v>
                </c:pt>
                <c:pt idx="38">
                  <c:v>40695</c:v>
                </c:pt>
                <c:pt idx="39">
                  <c:v>40725</c:v>
                </c:pt>
                <c:pt idx="40">
                  <c:v>40756</c:v>
                </c:pt>
                <c:pt idx="41">
                  <c:v>40787</c:v>
                </c:pt>
                <c:pt idx="42">
                  <c:v>40817</c:v>
                </c:pt>
                <c:pt idx="43">
                  <c:v>40848</c:v>
                </c:pt>
                <c:pt idx="44">
                  <c:v>40878</c:v>
                </c:pt>
                <c:pt idx="45">
                  <c:v>40909</c:v>
                </c:pt>
                <c:pt idx="46">
                  <c:v>40940</c:v>
                </c:pt>
                <c:pt idx="47">
                  <c:v>40969</c:v>
                </c:pt>
                <c:pt idx="48">
                  <c:v>41000</c:v>
                </c:pt>
                <c:pt idx="49">
                  <c:v>41030</c:v>
                </c:pt>
                <c:pt idx="50">
                  <c:v>41061</c:v>
                </c:pt>
                <c:pt idx="51">
                  <c:v>41091</c:v>
                </c:pt>
                <c:pt idx="52">
                  <c:v>41122</c:v>
                </c:pt>
                <c:pt idx="53">
                  <c:v>41153</c:v>
                </c:pt>
                <c:pt idx="54">
                  <c:v>41183</c:v>
                </c:pt>
                <c:pt idx="55">
                  <c:v>41214</c:v>
                </c:pt>
                <c:pt idx="56">
                  <c:v>41244</c:v>
                </c:pt>
                <c:pt idx="57">
                  <c:v>41275</c:v>
                </c:pt>
                <c:pt idx="58">
                  <c:v>41306</c:v>
                </c:pt>
                <c:pt idx="59">
                  <c:v>41334</c:v>
                </c:pt>
                <c:pt idx="60">
                  <c:v>41365</c:v>
                </c:pt>
                <c:pt idx="61">
                  <c:v>41395</c:v>
                </c:pt>
                <c:pt idx="62">
                  <c:v>41426</c:v>
                </c:pt>
                <c:pt idx="63">
                  <c:v>41456</c:v>
                </c:pt>
                <c:pt idx="64">
                  <c:v>41487</c:v>
                </c:pt>
                <c:pt idx="65">
                  <c:v>41518</c:v>
                </c:pt>
                <c:pt idx="66">
                  <c:v>41548</c:v>
                </c:pt>
                <c:pt idx="67">
                  <c:v>41579</c:v>
                </c:pt>
                <c:pt idx="68">
                  <c:v>41609</c:v>
                </c:pt>
                <c:pt idx="69">
                  <c:v>41640</c:v>
                </c:pt>
                <c:pt idx="70">
                  <c:v>41671</c:v>
                </c:pt>
                <c:pt idx="71">
                  <c:v>41699</c:v>
                </c:pt>
                <c:pt idx="72">
                  <c:v>41730</c:v>
                </c:pt>
                <c:pt idx="73">
                  <c:v>41760</c:v>
                </c:pt>
                <c:pt idx="74">
                  <c:v>41791</c:v>
                </c:pt>
                <c:pt idx="75">
                  <c:v>41821</c:v>
                </c:pt>
                <c:pt idx="76">
                  <c:v>41852</c:v>
                </c:pt>
                <c:pt idx="77">
                  <c:v>41883</c:v>
                </c:pt>
                <c:pt idx="78">
                  <c:v>41913</c:v>
                </c:pt>
                <c:pt idx="79">
                  <c:v>41944</c:v>
                </c:pt>
                <c:pt idx="80">
                  <c:v>41974</c:v>
                </c:pt>
                <c:pt idx="81">
                  <c:v>42005</c:v>
                </c:pt>
                <c:pt idx="82">
                  <c:v>42036</c:v>
                </c:pt>
                <c:pt idx="83">
                  <c:v>42064</c:v>
                </c:pt>
                <c:pt idx="84">
                  <c:v>42095</c:v>
                </c:pt>
                <c:pt idx="85">
                  <c:v>42125</c:v>
                </c:pt>
                <c:pt idx="86">
                  <c:v>42156</c:v>
                </c:pt>
                <c:pt idx="87">
                  <c:v>42186</c:v>
                </c:pt>
                <c:pt idx="88">
                  <c:v>42217</c:v>
                </c:pt>
                <c:pt idx="89">
                  <c:v>42248</c:v>
                </c:pt>
                <c:pt idx="90">
                  <c:v>42278</c:v>
                </c:pt>
                <c:pt idx="91">
                  <c:v>42309</c:v>
                </c:pt>
                <c:pt idx="92">
                  <c:v>42339</c:v>
                </c:pt>
                <c:pt idx="93">
                  <c:v>42370</c:v>
                </c:pt>
                <c:pt idx="94">
                  <c:v>42401</c:v>
                </c:pt>
                <c:pt idx="95">
                  <c:v>42430</c:v>
                </c:pt>
                <c:pt idx="96">
                  <c:v>42461</c:v>
                </c:pt>
                <c:pt idx="97">
                  <c:v>42491</c:v>
                </c:pt>
                <c:pt idx="98">
                  <c:v>42522</c:v>
                </c:pt>
                <c:pt idx="99">
                  <c:v>42552</c:v>
                </c:pt>
                <c:pt idx="100">
                  <c:v>42583</c:v>
                </c:pt>
                <c:pt idx="101">
                  <c:v>42614</c:v>
                </c:pt>
                <c:pt idx="102">
                  <c:v>42644</c:v>
                </c:pt>
                <c:pt idx="103">
                  <c:v>42675</c:v>
                </c:pt>
                <c:pt idx="104">
                  <c:v>42705</c:v>
                </c:pt>
                <c:pt idx="105">
                  <c:v>42736</c:v>
                </c:pt>
                <c:pt idx="106">
                  <c:v>42767</c:v>
                </c:pt>
                <c:pt idx="107">
                  <c:v>42795</c:v>
                </c:pt>
                <c:pt idx="108">
                  <c:v>42826</c:v>
                </c:pt>
                <c:pt idx="109">
                  <c:v>42856</c:v>
                </c:pt>
                <c:pt idx="110">
                  <c:v>42887</c:v>
                </c:pt>
                <c:pt idx="111">
                  <c:v>42917</c:v>
                </c:pt>
                <c:pt idx="112">
                  <c:v>42948</c:v>
                </c:pt>
                <c:pt idx="113">
                  <c:v>42979</c:v>
                </c:pt>
                <c:pt idx="114">
                  <c:v>43009</c:v>
                </c:pt>
                <c:pt idx="115">
                  <c:v>43040</c:v>
                </c:pt>
                <c:pt idx="116">
                  <c:v>43070</c:v>
                </c:pt>
                <c:pt idx="117">
                  <c:v>43101</c:v>
                </c:pt>
                <c:pt idx="118">
                  <c:v>43132</c:v>
                </c:pt>
                <c:pt idx="119">
                  <c:v>43160</c:v>
                </c:pt>
                <c:pt idx="120">
                  <c:v>43191</c:v>
                </c:pt>
                <c:pt idx="121">
                  <c:v>43221</c:v>
                </c:pt>
                <c:pt idx="122">
                  <c:v>43252</c:v>
                </c:pt>
                <c:pt idx="123">
                  <c:v>43282</c:v>
                </c:pt>
                <c:pt idx="124">
                  <c:v>43313</c:v>
                </c:pt>
                <c:pt idx="125">
                  <c:v>43344</c:v>
                </c:pt>
                <c:pt idx="126">
                  <c:v>43374</c:v>
                </c:pt>
                <c:pt idx="127">
                  <c:v>43405</c:v>
                </c:pt>
                <c:pt idx="128">
                  <c:v>43435</c:v>
                </c:pt>
                <c:pt idx="129">
                  <c:v>43466</c:v>
                </c:pt>
                <c:pt idx="130">
                  <c:v>43497</c:v>
                </c:pt>
                <c:pt idx="131">
                  <c:v>43525</c:v>
                </c:pt>
                <c:pt idx="132">
                  <c:v>43556</c:v>
                </c:pt>
                <c:pt idx="133">
                  <c:v>43586</c:v>
                </c:pt>
                <c:pt idx="134">
                  <c:v>43617</c:v>
                </c:pt>
                <c:pt idx="135">
                  <c:v>43647</c:v>
                </c:pt>
                <c:pt idx="136">
                  <c:v>43678</c:v>
                </c:pt>
                <c:pt idx="137">
                  <c:v>43709</c:v>
                </c:pt>
                <c:pt idx="138">
                  <c:v>43739</c:v>
                </c:pt>
                <c:pt idx="139">
                  <c:v>43770</c:v>
                </c:pt>
                <c:pt idx="140">
                  <c:v>43800</c:v>
                </c:pt>
                <c:pt idx="141">
                  <c:v>43831</c:v>
                </c:pt>
                <c:pt idx="142">
                  <c:v>43862</c:v>
                </c:pt>
                <c:pt idx="143">
                  <c:v>43891</c:v>
                </c:pt>
                <c:pt idx="144">
                  <c:v>43922</c:v>
                </c:pt>
                <c:pt idx="145">
                  <c:v>43952</c:v>
                </c:pt>
                <c:pt idx="146">
                  <c:v>43983</c:v>
                </c:pt>
                <c:pt idx="147">
                  <c:v>44013</c:v>
                </c:pt>
                <c:pt idx="148">
                  <c:v>44044</c:v>
                </c:pt>
                <c:pt idx="149">
                  <c:v>44075</c:v>
                </c:pt>
                <c:pt idx="150">
                  <c:v>44105</c:v>
                </c:pt>
                <c:pt idx="151">
                  <c:v>44136</c:v>
                </c:pt>
                <c:pt idx="152">
                  <c:v>44166</c:v>
                </c:pt>
                <c:pt idx="153">
                  <c:v>44197</c:v>
                </c:pt>
                <c:pt idx="154">
                  <c:v>44228</c:v>
                </c:pt>
                <c:pt idx="155">
                  <c:v>44256</c:v>
                </c:pt>
                <c:pt idx="156">
                  <c:v>44287</c:v>
                </c:pt>
                <c:pt idx="157">
                  <c:v>44317</c:v>
                </c:pt>
              </c:numCache>
            </c:numRef>
          </c:cat>
          <c:val>
            <c:numRef>
              <c:f>Synthese!$C$5:$C$198</c:f>
              <c:numCache>
                <c:formatCode>General</c:formatCode>
                <c:ptCount val="158"/>
                <c:pt idx="0">
                  <c:v>11.391</c:v>
                </c:pt>
                <c:pt idx="1">
                  <c:v>9.99</c:v>
                </c:pt>
                <c:pt idx="2">
                  <c:v>9.4619999999999997</c:v>
                </c:pt>
                <c:pt idx="3">
                  <c:v>9.0939999999999994</c:v>
                </c:pt>
                <c:pt idx="4">
                  <c:v>8.0470000000000006</c:v>
                </c:pt>
                <c:pt idx="5">
                  <c:v>6.6689999999999996</c:v>
                </c:pt>
                <c:pt idx="6">
                  <c:v>3.6379999999999999</c:v>
                </c:pt>
                <c:pt idx="7">
                  <c:v>3.0870000000000002</c:v>
                </c:pt>
                <c:pt idx="8">
                  <c:v>2.5350000000000001</c:v>
                </c:pt>
                <c:pt idx="9">
                  <c:v>2.012</c:v>
                </c:pt>
                <c:pt idx="10">
                  <c:v>1.75</c:v>
                </c:pt>
                <c:pt idx="11">
                  <c:v>1.7450000000000001</c:v>
                </c:pt>
                <c:pt idx="12">
                  <c:v>1.571</c:v>
                </c:pt>
                <c:pt idx="13">
                  <c:v>1.4330000000000001</c:v>
                </c:pt>
                <c:pt idx="14">
                  <c:v>1.1759999999999999</c:v>
                </c:pt>
                <c:pt idx="15">
                  <c:v>0.93700000000000006</c:v>
                </c:pt>
                <c:pt idx="16">
                  <c:v>1.915</c:v>
                </c:pt>
                <c:pt idx="17">
                  <c:v>2.177</c:v>
                </c:pt>
                <c:pt idx="18">
                  <c:v>2.7010000000000001</c:v>
                </c:pt>
                <c:pt idx="19">
                  <c:v>3.8580000000000001</c:v>
                </c:pt>
                <c:pt idx="20">
                  <c:v>5.0339999999999998</c:v>
                </c:pt>
                <c:pt idx="21">
                  <c:v>6.1550000000000002</c:v>
                </c:pt>
                <c:pt idx="22">
                  <c:v>7.9089999999999998</c:v>
                </c:pt>
                <c:pt idx="23">
                  <c:v>9.3699999999999992</c:v>
                </c:pt>
                <c:pt idx="24">
                  <c:v>9.7010000000000005</c:v>
                </c:pt>
                <c:pt idx="25">
                  <c:v>10.196999999999999</c:v>
                </c:pt>
                <c:pt idx="26">
                  <c:v>10.679</c:v>
                </c:pt>
                <c:pt idx="27">
                  <c:v>11.519</c:v>
                </c:pt>
                <c:pt idx="28">
                  <c:v>11.702999999999999</c:v>
                </c:pt>
                <c:pt idx="29">
                  <c:v>12.057</c:v>
                </c:pt>
                <c:pt idx="30">
                  <c:v>12.291</c:v>
                </c:pt>
                <c:pt idx="31">
                  <c:v>12.026</c:v>
                </c:pt>
                <c:pt idx="32">
                  <c:v>10.847</c:v>
                </c:pt>
                <c:pt idx="33">
                  <c:v>10.996</c:v>
                </c:pt>
                <c:pt idx="34">
                  <c:v>11.134</c:v>
                </c:pt>
                <c:pt idx="35">
                  <c:v>11.574</c:v>
                </c:pt>
                <c:pt idx="36">
                  <c:v>11.574</c:v>
                </c:pt>
                <c:pt idx="37">
                  <c:v>11.602</c:v>
                </c:pt>
                <c:pt idx="38">
                  <c:v>11.464</c:v>
                </c:pt>
                <c:pt idx="39">
                  <c:v>11.134</c:v>
                </c:pt>
                <c:pt idx="40">
                  <c:v>11.281000000000001</c:v>
                </c:pt>
                <c:pt idx="41">
                  <c:v>11.101000000000001</c:v>
                </c:pt>
                <c:pt idx="42">
                  <c:v>10.141</c:v>
                </c:pt>
                <c:pt idx="43">
                  <c:v>9.7739999999999991</c:v>
                </c:pt>
                <c:pt idx="44">
                  <c:v>9.6449999999999996</c:v>
                </c:pt>
                <c:pt idx="45">
                  <c:v>9.5350000000000001</c:v>
                </c:pt>
                <c:pt idx="46">
                  <c:v>8.9559999999999995</c:v>
                </c:pt>
                <c:pt idx="47">
                  <c:v>8.5980000000000008</c:v>
                </c:pt>
                <c:pt idx="48">
                  <c:v>8.6809999999999992</c:v>
                </c:pt>
                <c:pt idx="49">
                  <c:v>7.9089999999999998</c:v>
                </c:pt>
                <c:pt idx="50">
                  <c:v>7.1871</c:v>
                </c:pt>
                <c:pt idx="51">
                  <c:v>6.2831999999999999</c:v>
                </c:pt>
                <c:pt idx="52" formatCode="0.000">
                  <c:v>5.8201999999999998</c:v>
                </c:pt>
                <c:pt idx="53" formatCode="0.000">
                  <c:v>5.8974000000000002</c:v>
                </c:pt>
                <c:pt idx="54" formatCode="0.000">
                  <c:v>5.8147000000000002</c:v>
                </c:pt>
                <c:pt idx="55" formatCode="0.000">
                  <c:v>5.6327999999999996</c:v>
                </c:pt>
                <c:pt idx="56" formatCode="0.000">
                  <c:v>5.6493000000000002</c:v>
                </c:pt>
                <c:pt idx="57" formatCode="0.000">
                  <c:v>5.5115999999999996</c:v>
                </c:pt>
                <c:pt idx="58" formatCode="0.000">
                  <c:v>5.3048999999999999</c:v>
                </c:pt>
                <c:pt idx="59" formatCode="0.000">
                  <c:v>5.1368</c:v>
                </c:pt>
                <c:pt idx="60" formatCode="0.000">
                  <c:v>4.9190583749999996</c:v>
                </c:pt>
                <c:pt idx="61" formatCode="0.000">
                  <c:v>4.0454777000000002</c:v>
                </c:pt>
                <c:pt idx="62" formatCode="0.000">
                  <c:v>3.8856427500000001</c:v>
                </c:pt>
                <c:pt idx="63" formatCode="0.000">
                  <c:v>3.8580999999999999</c:v>
                </c:pt>
                <c:pt idx="64" formatCode="0.000">
                  <c:v>3.8801000000000001</c:v>
                </c:pt>
                <c:pt idx="65" formatCode="0.000">
                  <c:v>3.9821</c:v>
                </c:pt>
                <c:pt idx="66" formatCode="0.000">
                  <c:v>4.1887999999999996</c:v>
                </c:pt>
                <c:pt idx="67" formatCode="0.000">
                  <c:v>4.2880000000000003</c:v>
                </c:pt>
                <c:pt idx="68" formatCode="0.000">
                  <c:v>4.4092000000000002</c:v>
                </c:pt>
                <c:pt idx="69" formatCode="0.000">
                  <c:v>4.7069000000000001</c:v>
                </c:pt>
                <c:pt idx="70" formatCode="0.000">
                  <c:v>5.0982000000000003</c:v>
                </c:pt>
                <c:pt idx="71" formatCode="0.000">
                  <c:v>5.1670999999999996</c:v>
                </c:pt>
                <c:pt idx="72" formatCode="0.000">
                  <c:v>5.4564000000000004</c:v>
                </c:pt>
                <c:pt idx="73" formatCode="0.000">
                  <c:v>6.0627000000000004</c:v>
                </c:pt>
                <c:pt idx="74" formatCode="0.000">
                  <c:v>6.5587</c:v>
                </c:pt>
                <c:pt idx="75" formatCode="0.000">
                  <c:v>6.7240909999999996</c:v>
                </c:pt>
                <c:pt idx="76" formatCode="0.000">
                  <c:v>6.7240909999999996</c:v>
                </c:pt>
                <c:pt idx="77" formatCode="0.000">
                  <c:v>6.7240909999999996</c:v>
                </c:pt>
                <c:pt idx="78" formatCode="0.000">
                  <c:v>6.7240909999999996</c:v>
                </c:pt>
                <c:pt idx="79" formatCode="0.000">
                  <c:v>6.7240909999999996</c:v>
                </c:pt>
                <c:pt idx="80" formatCode="0.000">
                  <c:v>6.7240909999999996</c:v>
                </c:pt>
                <c:pt idx="81" formatCode="0.000">
                  <c:v>6.7240909999999996</c:v>
                </c:pt>
                <c:pt idx="82" formatCode="0.000">
                  <c:v>6.7378999999999998</c:v>
                </c:pt>
                <c:pt idx="83" formatCode="0.000">
                  <c:v>6.7930000000000001</c:v>
                </c:pt>
                <c:pt idx="84" formatCode="0.000">
                  <c:v>6.8342999999999998</c:v>
                </c:pt>
                <c:pt idx="85" formatCode="0.000">
                  <c:v>6.8342999999999998</c:v>
                </c:pt>
                <c:pt idx="86" formatCode="0.000">
                  <c:v>7.0686</c:v>
                </c:pt>
                <c:pt idx="87" formatCode="0.000">
                  <c:v>7.2531999999999996</c:v>
                </c:pt>
                <c:pt idx="88" formatCode="0.000">
                  <c:v>7.2751999999999999</c:v>
                </c:pt>
                <c:pt idx="89" formatCode="0.000">
                  <c:v>7.2751999999999999</c:v>
                </c:pt>
                <c:pt idx="90" formatCode="0.000">
                  <c:v>7.2312000000000003</c:v>
                </c:pt>
                <c:pt idx="91" formatCode="0.000">
                  <c:v>7.0548000000000002</c:v>
                </c:pt>
                <c:pt idx="92" formatCode="0.000">
                  <c:v>7.0548000000000002</c:v>
                </c:pt>
                <c:pt idx="93" formatCode="0.000">
                  <c:v>6.6965000000000003</c:v>
                </c:pt>
                <c:pt idx="94" formatCode="0.000">
                  <c:v>6.4898999999999996</c:v>
                </c:pt>
                <c:pt idx="95" formatCode="0.000">
                  <c:v>6.0848000000000004</c:v>
                </c:pt>
                <c:pt idx="96" formatCode="0.000">
                  <c:v>5.3461999999999996</c:v>
                </c:pt>
                <c:pt idx="97" formatCode="0.000">
                  <c:v>5.2911000000000001</c:v>
                </c:pt>
                <c:pt idx="98" formatCode="0.000">
                  <c:v>5.2911000000000001</c:v>
                </c:pt>
                <c:pt idx="99" formatCode="0.000">
                  <c:v>5.0293000000000001</c:v>
                </c:pt>
                <c:pt idx="100" formatCode="0.000">
                  <c:v>4.5469999999999997</c:v>
                </c:pt>
                <c:pt idx="101" formatCode="0.000">
                  <c:v>4.0124000000000004</c:v>
                </c:pt>
                <c:pt idx="102" formatCode="0.000">
                  <c:v>3.8856000000000002</c:v>
                </c:pt>
                <c:pt idx="103" formatCode="0.000">
                  <c:v>3.5548999999999999</c:v>
                </c:pt>
                <c:pt idx="104" formatCode="0.000">
                  <c:v>3.4171999999999998</c:v>
                </c:pt>
                <c:pt idx="105" formatCode="0.000">
                  <c:v>3.4998</c:v>
                </c:pt>
                <c:pt idx="106" formatCode="0.000">
                  <c:v>3.7616000000000001</c:v>
                </c:pt>
                <c:pt idx="107" formatCode="0.000">
                  <c:v>4.0674999999999999</c:v>
                </c:pt>
                <c:pt idx="108" formatCode="0.000">
                  <c:v>4.2576999999999998</c:v>
                </c:pt>
                <c:pt idx="109" formatCode="0.000">
                  <c:v>4.3540999999999999</c:v>
                </c:pt>
                <c:pt idx="110" formatCode="0.000">
                  <c:v>4.4775999999999998</c:v>
                </c:pt>
                <c:pt idx="111" formatCode="0.000">
                  <c:v>4.6296999999999997</c:v>
                </c:pt>
                <c:pt idx="112" formatCode="0.000">
                  <c:v>4.6296999999999997</c:v>
                </c:pt>
                <c:pt idx="113" formatCode="0.000">
                  <c:v>4.7949999999999999</c:v>
                </c:pt>
                <c:pt idx="114" formatCode="0.000">
                  <c:v>5.0705999999999998</c:v>
                </c:pt>
                <c:pt idx="115" formatCode="0.000">
                  <c:v>5.2911000000000001</c:v>
                </c:pt>
                <c:pt idx="116" formatCode="0.000">
                  <c:v>5.2911000000000001</c:v>
                </c:pt>
                <c:pt idx="117" formatCode="0.000">
                  <c:v>5.4013</c:v>
                </c:pt>
                <c:pt idx="118" formatCode="0.000">
                  <c:v>5.3186999999999998</c:v>
                </c:pt>
                <c:pt idx="119" formatCode="0.000">
                  <c:v>5.2911000000000001</c:v>
                </c:pt>
                <c:pt idx="120" formatCode="0.000">
                  <c:v>5.0705999999999998</c:v>
                </c:pt>
                <c:pt idx="121" formatCode="0.000">
                  <c:v>4.9714</c:v>
                </c:pt>
                <c:pt idx="122" formatCode="0.000">
                  <c:v>4.9053000000000004</c:v>
                </c:pt>
                <c:pt idx="123" formatCode="0.000">
                  <c:v>4.8502000000000001</c:v>
                </c:pt>
                <c:pt idx="124" formatCode="0.000">
                  <c:v>4.7949999999999999</c:v>
                </c:pt>
                <c:pt idx="125" formatCode="0.000">
                  <c:v>4.9162999999999997</c:v>
                </c:pt>
                <c:pt idx="126" formatCode="0.000">
                  <c:v>5.1809000000000003</c:v>
                </c:pt>
                <c:pt idx="127" formatCode="0.000">
                  <c:v>5.2359999999999998</c:v>
                </c:pt>
                <c:pt idx="128" formatCode="0.000">
                  <c:v>5.2359999999999998</c:v>
                </c:pt>
                <c:pt idx="129" formatCode="0.000">
                  <c:v>5.2359999999999998</c:v>
                </c:pt>
                <c:pt idx="130" formatCode="0.000">
                  <c:v>5.2359999999999998</c:v>
                </c:pt>
                <c:pt idx="131" formatCode="0.000">
                  <c:v>5.3461999999999996</c:v>
                </c:pt>
                <c:pt idx="132" formatCode="0.000">
                  <c:v>5.4675000000000002</c:v>
                </c:pt>
                <c:pt idx="133" formatCode="0.000">
                  <c:v>5.6327999999999996</c:v>
                </c:pt>
                <c:pt idx="134" formatCode="0.000">
                  <c:v>5.6989999999999998</c:v>
                </c:pt>
                <c:pt idx="135" formatCode="0.000">
                  <c:v>5.5115999999999996</c:v>
                </c:pt>
                <c:pt idx="136" formatCode="0.000">
                  <c:v>5.71</c:v>
                </c:pt>
                <c:pt idx="137" formatCode="0.000">
                  <c:v>5.8422000000000001</c:v>
                </c:pt>
                <c:pt idx="138" formatCode="0.000">
                  <c:v>5.7760999999999996</c:v>
                </c:pt>
                <c:pt idx="139" formatCode="0.000">
                  <c:v>5.4565000000000001</c:v>
                </c:pt>
                <c:pt idx="140" formatCode="0.000">
                  <c:v>5.5115999999999996</c:v>
                </c:pt>
                <c:pt idx="141" formatCode="0.000">
                  <c:v>5.5115999999999996</c:v>
                </c:pt>
                <c:pt idx="142" formatCode="0.000">
                  <c:v>5.5115999999999996</c:v>
                </c:pt>
                <c:pt idx="143" formatCode="0.000">
                  <c:v>5.2222</c:v>
                </c:pt>
                <c:pt idx="144" formatCode="0.000">
                  <c:v>3.5825</c:v>
                </c:pt>
                <c:pt idx="145" formatCode="0.000">
                  <c:v>2.0392999999999999</c:v>
                </c:pt>
                <c:pt idx="146" formatCode="0.000">
                  <c:v>1.9842</c:v>
                </c:pt>
                <c:pt idx="147" formatCode="0.000">
                  <c:v>1.8188</c:v>
                </c:pt>
                <c:pt idx="148" formatCode="0.000">
                  <c:v>1.7637</c:v>
                </c:pt>
                <c:pt idx="149" formatCode="0.000">
                  <c:v>1.7637</c:v>
                </c:pt>
                <c:pt idx="150" formatCode="0.000">
                  <c:v>1.8078000000000001</c:v>
                </c:pt>
                <c:pt idx="151" formatCode="0.000">
                  <c:v>2.1633</c:v>
                </c:pt>
                <c:pt idx="152" formatCode="0.000">
                  <c:v>2.4582000000000002</c:v>
                </c:pt>
                <c:pt idx="153" formatCode="0.000">
                  <c:v>3.6652</c:v>
                </c:pt>
                <c:pt idx="154" formatCode="0.000">
                  <c:v>3.9131999999999998</c:v>
                </c:pt>
                <c:pt idx="155" formatCode="0.000">
                  <c:v>4.6711</c:v>
                </c:pt>
                <c:pt idx="156" formatCode="0.000">
                  <c:v>4.3982000000000001</c:v>
                </c:pt>
                <c:pt idx="157" formatCode="0.000">
                  <c:v>4.3540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73B-4C82-94E3-622C968FEEC2}"/>
            </c:ext>
          </c:extLst>
        </c:ser>
        <c:ser>
          <c:idx val="2"/>
          <c:order val="2"/>
          <c:tx>
            <c:strRef>
              <c:f>Synthese!$D$4</c:f>
              <c:strCache>
                <c:ptCount val="1"/>
                <c:pt idx="0">
                  <c:v>Scraps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cat>
            <c:numRef>
              <c:f>Synthese!$A$5:$A$198</c:f>
              <c:numCache>
                <c:formatCode>[$-409]mmm\-yy;@</c:formatCode>
                <c:ptCount val="158"/>
                <c:pt idx="0">
                  <c:v>39539</c:v>
                </c:pt>
                <c:pt idx="1">
                  <c:v>39569</c:v>
                </c:pt>
                <c:pt idx="2">
                  <c:v>39600</c:v>
                </c:pt>
                <c:pt idx="3">
                  <c:v>39630</c:v>
                </c:pt>
                <c:pt idx="4">
                  <c:v>39661</c:v>
                </c:pt>
                <c:pt idx="5">
                  <c:v>39692</c:v>
                </c:pt>
                <c:pt idx="6">
                  <c:v>39722</c:v>
                </c:pt>
                <c:pt idx="7">
                  <c:v>39753</c:v>
                </c:pt>
                <c:pt idx="8">
                  <c:v>39783</c:v>
                </c:pt>
                <c:pt idx="9">
                  <c:v>39814</c:v>
                </c:pt>
                <c:pt idx="10">
                  <c:v>39845</c:v>
                </c:pt>
                <c:pt idx="11">
                  <c:v>39873</c:v>
                </c:pt>
                <c:pt idx="12">
                  <c:v>39904</c:v>
                </c:pt>
                <c:pt idx="13">
                  <c:v>39934</c:v>
                </c:pt>
                <c:pt idx="14">
                  <c:v>39965</c:v>
                </c:pt>
                <c:pt idx="15">
                  <c:v>39995</c:v>
                </c:pt>
                <c:pt idx="16">
                  <c:v>40026</c:v>
                </c:pt>
                <c:pt idx="17">
                  <c:v>40057</c:v>
                </c:pt>
                <c:pt idx="18">
                  <c:v>40087</c:v>
                </c:pt>
                <c:pt idx="19">
                  <c:v>40118</c:v>
                </c:pt>
                <c:pt idx="20">
                  <c:v>40148</c:v>
                </c:pt>
                <c:pt idx="21">
                  <c:v>40179</c:v>
                </c:pt>
                <c:pt idx="22">
                  <c:v>40210</c:v>
                </c:pt>
                <c:pt idx="23">
                  <c:v>40238</c:v>
                </c:pt>
                <c:pt idx="24">
                  <c:v>40269</c:v>
                </c:pt>
                <c:pt idx="25">
                  <c:v>40299</c:v>
                </c:pt>
                <c:pt idx="26">
                  <c:v>40330</c:v>
                </c:pt>
                <c:pt idx="27">
                  <c:v>40360</c:v>
                </c:pt>
                <c:pt idx="28">
                  <c:v>40391</c:v>
                </c:pt>
                <c:pt idx="29">
                  <c:v>40422</c:v>
                </c:pt>
                <c:pt idx="30">
                  <c:v>40452</c:v>
                </c:pt>
                <c:pt idx="31">
                  <c:v>40483</c:v>
                </c:pt>
                <c:pt idx="32">
                  <c:v>40513</c:v>
                </c:pt>
                <c:pt idx="33">
                  <c:v>40544</c:v>
                </c:pt>
                <c:pt idx="34">
                  <c:v>40575</c:v>
                </c:pt>
                <c:pt idx="35">
                  <c:v>40603</c:v>
                </c:pt>
                <c:pt idx="36">
                  <c:v>40634</c:v>
                </c:pt>
                <c:pt idx="37">
                  <c:v>40664</c:v>
                </c:pt>
                <c:pt idx="38">
                  <c:v>40695</c:v>
                </c:pt>
                <c:pt idx="39">
                  <c:v>40725</c:v>
                </c:pt>
                <c:pt idx="40">
                  <c:v>40756</c:v>
                </c:pt>
                <c:pt idx="41">
                  <c:v>40787</c:v>
                </c:pt>
                <c:pt idx="42">
                  <c:v>40817</c:v>
                </c:pt>
                <c:pt idx="43">
                  <c:v>40848</c:v>
                </c:pt>
                <c:pt idx="44">
                  <c:v>40878</c:v>
                </c:pt>
                <c:pt idx="45">
                  <c:v>40909</c:v>
                </c:pt>
                <c:pt idx="46">
                  <c:v>40940</c:v>
                </c:pt>
                <c:pt idx="47">
                  <c:v>40969</c:v>
                </c:pt>
                <c:pt idx="48">
                  <c:v>41000</c:v>
                </c:pt>
                <c:pt idx="49">
                  <c:v>41030</c:v>
                </c:pt>
                <c:pt idx="50">
                  <c:v>41061</c:v>
                </c:pt>
                <c:pt idx="51">
                  <c:v>41091</c:v>
                </c:pt>
                <c:pt idx="52">
                  <c:v>41122</c:v>
                </c:pt>
                <c:pt idx="53">
                  <c:v>41153</c:v>
                </c:pt>
                <c:pt idx="54">
                  <c:v>41183</c:v>
                </c:pt>
                <c:pt idx="55">
                  <c:v>41214</c:v>
                </c:pt>
                <c:pt idx="56">
                  <c:v>41244</c:v>
                </c:pt>
                <c:pt idx="57">
                  <c:v>41275</c:v>
                </c:pt>
                <c:pt idx="58">
                  <c:v>41306</c:v>
                </c:pt>
                <c:pt idx="59">
                  <c:v>41334</c:v>
                </c:pt>
                <c:pt idx="60">
                  <c:v>41365</c:v>
                </c:pt>
                <c:pt idx="61">
                  <c:v>41395</c:v>
                </c:pt>
                <c:pt idx="62">
                  <c:v>41426</c:v>
                </c:pt>
                <c:pt idx="63">
                  <c:v>41456</c:v>
                </c:pt>
                <c:pt idx="64">
                  <c:v>41487</c:v>
                </c:pt>
                <c:pt idx="65">
                  <c:v>41518</c:v>
                </c:pt>
                <c:pt idx="66">
                  <c:v>41548</c:v>
                </c:pt>
                <c:pt idx="67">
                  <c:v>41579</c:v>
                </c:pt>
                <c:pt idx="68">
                  <c:v>41609</c:v>
                </c:pt>
                <c:pt idx="69">
                  <c:v>41640</c:v>
                </c:pt>
                <c:pt idx="70">
                  <c:v>41671</c:v>
                </c:pt>
                <c:pt idx="71">
                  <c:v>41699</c:v>
                </c:pt>
                <c:pt idx="72">
                  <c:v>41730</c:v>
                </c:pt>
                <c:pt idx="73">
                  <c:v>41760</c:v>
                </c:pt>
                <c:pt idx="74">
                  <c:v>41791</c:v>
                </c:pt>
                <c:pt idx="75">
                  <c:v>41821</c:v>
                </c:pt>
                <c:pt idx="76">
                  <c:v>41852</c:v>
                </c:pt>
                <c:pt idx="77">
                  <c:v>41883</c:v>
                </c:pt>
                <c:pt idx="78">
                  <c:v>41913</c:v>
                </c:pt>
                <c:pt idx="79">
                  <c:v>41944</c:v>
                </c:pt>
                <c:pt idx="80">
                  <c:v>41974</c:v>
                </c:pt>
                <c:pt idx="81">
                  <c:v>42005</c:v>
                </c:pt>
                <c:pt idx="82">
                  <c:v>42036</c:v>
                </c:pt>
                <c:pt idx="83">
                  <c:v>42064</c:v>
                </c:pt>
                <c:pt idx="84">
                  <c:v>42095</c:v>
                </c:pt>
                <c:pt idx="85">
                  <c:v>42125</c:v>
                </c:pt>
                <c:pt idx="86">
                  <c:v>42156</c:v>
                </c:pt>
                <c:pt idx="87">
                  <c:v>42186</c:v>
                </c:pt>
                <c:pt idx="88">
                  <c:v>42217</c:v>
                </c:pt>
                <c:pt idx="89">
                  <c:v>42248</c:v>
                </c:pt>
                <c:pt idx="90">
                  <c:v>42278</c:v>
                </c:pt>
                <c:pt idx="91">
                  <c:v>42309</c:v>
                </c:pt>
                <c:pt idx="92">
                  <c:v>42339</c:v>
                </c:pt>
                <c:pt idx="93">
                  <c:v>42370</c:v>
                </c:pt>
                <c:pt idx="94">
                  <c:v>42401</c:v>
                </c:pt>
                <c:pt idx="95">
                  <c:v>42430</c:v>
                </c:pt>
                <c:pt idx="96">
                  <c:v>42461</c:v>
                </c:pt>
                <c:pt idx="97">
                  <c:v>42491</c:v>
                </c:pt>
                <c:pt idx="98">
                  <c:v>42522</c:v>
                </c:pt>
                <c:pt idx="99">
                  <c:v>42552</c:v>
                </c:pt>
                <c:pt idx="100">
                  <c:v>42583</c:v>
                </c:pt>
                <c:pt idx="101">
                  <c:v>42614</c:v>
                </c:pt>
                <c:pt idx="102">
                  <c:v>42644</c:v>
                </c:pt>
                <c:pt idx="103">
                  <c:v>42675</c:v>
                </c:pt>
                <c:pt idx="104">
                  <c:v>42705</c:v>
                </c:pt>
                <c:pt idx="105">
                  <c:v>42736</c:v>
                </c:pt>
                <c:pt idx="106">
                  <c:v>42767</c:v>
                </c:pt>
                <c:pt idx="107">
                  <c:v>42795</c:v>
                </c:pt>
                <c:pt idx="108">
                  <c:v>42826</c:v>
                </c:pt>
                <c:pt idx="109">
                  <c:v>42856</c:v>
                </c:pt>
                <c:pt idx="110">
                  <c:v>42887</c:v>
                </c:pt>
                <c:pt idx="111">
                  <c:v>42917</c:v>
                </c:pt>
                <c:pt idx="112">
                  <c:v>42948</c:v>
                </c:pt>
                <c:pt idx="113">
                  <c:v>42979</c:v>
                </c:pt>
                <c:pt idx="114">
                  <c:v>43009</c:v>
                </c:pt>
                <c:pt idx="115">
                  <c:v>43040</c:v>
                </c:pt>
                <c:pt idx="116">
                  <c:v>43070</c:v>
                </c:pt>
                <c:pt idx="117">
                  <c:v>43101</c:v>
                </c:pt>
                <c:pt idx="118">
                  <c:v>43132</c:v>
                </c:pt>
                <c:pt idx="119">
                  <c:v>43160</c:v>
                </c:pt>
                <c:pt idx="120">
                  <c:v>43191</c:v>
                </c:pt>
                <c:pt idx="121">
                  <c:v>43221</c:v>
                </c:pt>
                <c:pt idx="122">
                  <c:v>43252</c:v>
                </c:pt>
                <c:pt idx="123">
                  <c:v>43282</c:v>
                </c:pt>
                <c:pt idx="124">
                  <c:v>43313</c:v>
                </c:pt>
                <c:pt idx="125">
                  <c:v>43344</c:v>
                </c:pt>
                <c:pt idx="126">
                  <c:v>43374</c:v>
                </c:pt>
                <c:pt idx="127">
                  <c:v>43405</c:v>
                </c:pt>
                <c:pt idx="128">
                  <c:v>43435</c:v>
                </c:pt>
                <c:pt idx="129">
                  <c:v>43466</c:v>
                </c:pt>
                <c:pt idx="130">
                  <c:v>43497</c:v>
                </c:pt>
                <c:pt idx="131">
                  <c:v>43525</c:v>
                </c:pt>
                <c:pt idx="132">
                  <c:v>43556</c:v>
                </c:pt>
                <c:pt idx="133">
                  <c:v>43586</c:v>
                </c:pt>
                <c:pt idx="134">
                  <c:v>43617</c:v>
                </c:pt>
                <c:pt idx="135">
                  <c:v>43647</c:v>
                </c:pt>
                <c:pt idx="136">
                  <c:v>43678</c:v>
                </c:pt>
                <c:pt idx="137">
                  <c:v>43709</c:v>
                </c:pt>
                <c:pt idx="138">
                  <c:v>43739</c:v>
                </c:pt>
                <c:pt idx="139">
                  <c:v>43770</c:v>
                </c:pt>
                <c:pt idx="140">
                  <c:v>43800</c:v>
                </c:pt>
                <c:pt idx="141">
                  <c:v>43831</c:v>
                </c:pt>
                <c:pt idx="142">
                  <c:v>43862</c:v>
                </c:pt>
                <c:pt idx="143">
                  <c:v>43891</c:v>
                </c:pt>
                <c:pt idx="144">
                  <c:v>43922</c:v>
                </c:pt>
                <c:pt idx="145">
                  <c:v>43952</c:v>
                </c:pt>
                <c:pt idx="146">
                  <c:v>43983</c:v>
                </c:pt>
                <c:pt idx="147">
                  <c:v>44013</c:v>
                </c:pt>
                <c:pt idx="148">
                  <c:v>44044</c:v>
                </c:pt>
                <c:pt idx="149">
                  <c:v>44075</c:v>
                </c:pt>
                <c:pt idx="150">
                  <c:v>44105</c:v>
                </c:pt>
                <c:pt idx="151">
                  <c:v>44136</c:v>
                </c:pt>
                <c:pt idx="152">
                  <c:v>44166</c:v>
                </c:pt>
                <c:pt idx="153">
                  <c:v>44197</c:v>
                </c:pt>
                <c:pt idx="154">
                  <c:v>44228</c:v>
                </c:pt>
                <c:pt idx="155">
                  <c:v>44256</c:v>
                </c:pt>
                <c:pt idx="156">
                  <c:v>44287</c:v>
                </c:pt>
                <c:pt idx="157">
                  <c:v>44317</c:v>
                </c:pt>
              </c:numCache>
            </c:numRef>
          </c:cat>
          <c:val>
            <c:numRef>
              <c:f>Synthese!$D$5:$D$198</c:f>
              <c:numCache>
                <c:formatCode>General</c:formatCode>
                <c:ptCount val="158"/>
                <c:pt idx="0">
                  <c:v>3.7850000000000001</c:v>
                </c:pt>
                <c:pt idx="1">
                  <c:v>4.0789999999999997</c:v>
                </c:pt>
                <c:pt idx="2">
                  <c:v>3.8769999999999998</c:v>
                </c:pt>
                <c:pt idx="3">
                  <c:v>3.6379999999999999</c:v>
                </c:pt>
                <c:pt idx="4">
                  <c:v>3.6930000000000001</c:v>
                </c:pt>
                <c:pt idx="5">
                  <c:v>3.4910000000000001</c:v>
                </c:pt>
                <c:pt idx="6">
                  <c:v>2.0070000000000001</c:v>
                </c:pt>
                <c:pt idx="7">
                  <c:v>1.4890000000000001</c:v>
                </c:pt>
                <c:pt idx="8">
                  <c:v>1.323</c:v>
                </c:pt>
                <c:pt idx="9">
                  <c:v>0.77200000000000002</c:v>
                </c:pt>
                <c:pt idx="10">
                  <c:v>0.63400000000000001</c:v>
                </c:pt>
                <c:pt idx="11">
                  <c:v>0.69899999999999995</c:v>
                </c:pt>
                <c:pt idx="12">
                  <c:v>0.63400000000000001</c:v>
                </c:pt>
                <c:pt idx="13">
                  <c:v>0.58799999999999997</c:v>
                </c:pt>
                <c:pt idx="14">
                  <c:v>0.60599999999999998</c:v>
                </c:pt>
                <c:pt idx="15">
                  <c:v>0.51</c:v>
                </c:pt>
                <c:pt idx="16">
                  <c:v>1.048</c:v>
                </c:pt>
                <c:pt idx="17">
                  <c:v>1.3779999999999999</c:v>
                </c:pt>
                <c:pt idx="18">
                  <c:v>1.6539999999999999</c:v>
                </c:pt>
                <c:pt idx="19">
                  <c:v>1.929</c:v>
                </c:pt>
                <c:pt idx="20">
                  <c:v>2.6640000000000001</c:v>
                </c:pt>
                <c:pt idx="21">
                  <c:v>3.6190000000000002</c:v>
                </c:pt>
                <c:pt idx="22">
                  <c:v>4.851</c:v>
                </c:pt>
                <c:pt idx="23">
                  <c:v>5.6219999999999999</c:v>
                </c:pt>
                <c:pt idx="24">
                  <c:v>6.2060000000000004</c:v>
                </c:pt>
                <c:pt idx="25">
                  <c:v>5.98</c:v>
                </c:pt>
                <c:pt idx="26">
                  <c:v>5.2919999999999998</c:v>
                </c:pt>
                <c:pt idx="27">
                  <c:v>5.3579999999999997</c:v>
                </c:pt>
                <c:pt idx="28">
                  <c:v>5.7880000000000003</c:v>
                </c:pt>
                <c:pt idx="29">
                  <c:v>6.4619999999999997</c:v>
                </c:pt>
                <c:pt idx="30">
                  <c:v>6.1070000000000002</c:v>
                </c:pt>
                <c:pt idx="31">
                  <c:v>5.484</c:v>
                </c:pt>
                <c:pt idx="32">
                  <c:v>5.2910000000000004</c:v>
                </c:pt>
                <c:pt idx="33">
                  <c:v>5.0990000000000002</c:v>
                </c:pt>
                <c:pt idx="34">
                  <c:v>5.1079999999999997</c:v>
                </c:pt>
                <c:pt idx="35">
                  <c:v>5.1260000000000003</c:v>
                </c:pt>
                <c:pt idx="36">
                  <c:v>5.2249999999999996</c:v>
                </c:pt>
                <c:pt idx="37">
                  <c:v>5.4290000000000003</c:v>
                </c:pt>
                <c:pt idx="38">
                  <c:v>5.6219999999999999</c:v>
                </c:pt>
                <c:pt idx="39">
                  <c:v>5.6219999999999999</c:v>
                </c:pt>
                <c:pt idx="40">
                  <c:v>5.6219999999999999</c:v>
                </c:pt>
                <c:pt idx="41">
                  <c:v>5.6</c:v>
                </c:pt>
                <c:pt idx="42">
                  <c:v>5.1260000000000003</c:v>
                </c:pt>
                <c:pt idx="43">
                  <c:v>4.7770000000000001</c:v>
                </c:pt>
                <c:pt idx="44">
                  <c:v>4.6020000000000003</c:v>
                </c:pt>
                <c:pt idx="45">
                  <c:v>4.4370000000000003</c:v>
                </c:pt>
                <c:pt idx="46">
                  <c:v>4.492</c:v>
                </c:pt>
                <c:pt idx="47">
                  <c:v>4.5199999999999996</c:v>
                </c:pt>
                <c:pt idx="48">
                  <c:v>4.4092000000000002</c:v>
                </c:pt>
                <c:pt idx="49">
                  <c:v>4.4919000000000002</c:v>
                </c:pt>
                <c:pt idx="50">
                  <c:v>4.2439</c:v>
                </c:pt>
                <c:pt idx="51">
                  <c:v>3.9407999999999999</c:v>
                </c:pt>
                <c:pt idx="52" formatCode="0.000">
                  <c:v>3.3731</c:v>
                </c:pt>
                <c:pt idx="53" formatCode="0.000">
                  <c:v>3.3069000000000002</c:v>
                </c:pt>
                <c:pt idx="54" formatCode="0.000">
                  <c:v>3.1966999999999999</c:v>
                </c:pt>
                <c:pt idx="55" formatCode="0.000">
                  <c:v>3.0865</c:v>
                </c:pt>
                <c:pt idx="56" formatCode="0.000">
                  <c:v>3.0865</c:v>
                </c:pt>
                <c:pt idx="57" formatCode="0.000">
                  <c:v>3.0865</c:v>
                </c:pt>
                <c:pt idx="58" formatCode="0.000">
                  <c:v>3.0865</c:v>
                </c:pt>
                <c:pt idx="59" formatCode="0.000">
                  <c:v>2.9651999999999998</c:v>
                </c:pt>
                <c:pt idx="60" formatCode="0.000">
                  <c:v>2.824669375</c:v>
                </c:pt>
                <c:pt idx="61" formatCode="0.000">
                  <c:v>2.6455440000000001</c:v>
                </c:pt>
                <c:pt idx="62" formatCode="0.000">
                  <c:v>2.5904284999999998</c:v>
                </c:pt>
                <c:pt idx="63" formatCode="0.000">
                  <c:v>2.5352999999999999</c:v>
                </c:pt>
                <c:pt idx="64" formatCode="0.000">
                  <c:v>2.5794000000000001</c:v>
                </c:pt>
                <c:pt idx="65" formatCode="0.000">
                  <c:v>2.6455000000000002</c:v>
                </c:pt>
                <c:pt idx="66" formatCode="0.000">
                  <c:v>2.6179999999999999</c:v>
                </c:pt>
                <c:pt idx="67" formatCode="0.000">
                  <c:v>2.5573999999999999</c:v>
                </c:pt>
                <c:pt idx="68" formatCode="0.000">
                  <c:v>2.5903999999999998</c:v>
                </c:pt>
                <c:pt idx="69" formatCode="0.000">
                  <c:v>2.7667999999999999</c:v>
                </c:pt>
                <c:pt idx="70" formatCode="0.000">
                  <c:v>3.1139999999999999</c:v>
                </c:pt>
                <c:pt idx="71" formatCode="0.000">
                  <c:v>3.1554000000000002</c:v>
                </c:pt>
                <c:pt idx="72" formatCode="0.000">
                  <c:v>3.238</c:v>
                </c:pt>
                <c:pt idx="73" formatCode="0.000">
                  <c:v>3.6265999999999998</c:v>
                </c:pt>
                <c:pt idx="74" formatCode="0.000">
                  <c:v>3.7892000000000001</c:v>
                </c:pt>
                <c:pt idx="75" formatCode="0.000">
                  <c:v>3.858085</c:v>
                </c:pt>
                <c:pt idx="76" formatCode="0.000">
                  <c:v>3.858085</c:v>
                </c:pt>
                <c:pt idx="77" formatCode="0.000">
                  <c:v>3.8718638749999998</c:v>
                </c:pt>
                <c:pt idx="78" formatCode="0.000">
                  <c:v>3.9132004999999999</c:v>
                </c:pt>
                <c:pt idx="79" formatCode="0.000">
                  <c:v>4.0234315</c:v>
                </c:pt>
                <c:pt idx="80" formatCode="0.000">
                  <c:v>4.0785470000000004</c:v>
                </c:pt>
                <c:pt idx="81" formatCode="0.000">
                  <c:v>4.0785</c:v>
                </c:pt>
                <c:pt idx="82" formatCode="0.000">
                  <c:v>4.1474000000000002</c:v>
                </c:pt>
                <c:pt idx="83" formatCode="0.000">
                  <c:v>4.2714999999999996</c:v>
                </c:pt>
                <c:pt idx="84" formatCode="0.000">
                  <c:v>4.2990000000000004</c:v>
                </c:pt>
                <c:pt idx="85" formatCode="0.000">
                  <c:v>4.2990000000000004</c:v>
                </c:pt>
                <c:pt idx="86" formatCode="0.000">
                  <c:v>4.5331999999999999</c:v>
                </c:pt>
                <c:pt idx="87" formatCode="0.000">
                  <c:v>4.7179000000000002</c:v>
                </c:pt>
                <c:pt idx="88" formatCode="0.000">
                  <c:v>4.7398999999999996</c:v>
                </c:pt>
                <c:pt idx="89" formatCode="0.000">
                  <c:v>4.7949999999999999</c:v>
                </c:pt>
                <c:pt idx="90" formatCode="0.000">
                  <c:v>4.7398999999999996</c:v>
                </c:pt>
                <c:pt idx="91" formatCode="0.000">
                  <c:v>4.5194999999999999</c:v>
                </c:pt>
                <c:pt idx="92" formatCode="0.000">
                  <c:v>4.3211000000000004</c:v>
                </c:pt>
                <c:pt idx="93" formatCode="0.000">
                  <c:v>3.7479</c:v>
                </c:pt>
                <c:pt idx="94" formatCode="0.000">
                  <c:v>3.6101000000000001</c:v>
                </c:pt>
                <c:pt idx="95" formatCode="0.000">
                  <c:v>3.2627999999999999</c:v>
                </c:pt>
                <c:pt idx="96" formatCode="0.000">
                  <c:v>2.6318000000000001</c:v>
                </c:pt>
                <c:pt idx="97" formatCode="0.000">
                  <c:v>2.2046000000000001</c:v>
                </c:pt>
                <c:pt idx="98" formatCode="0.000">
                  <c:v>2.0943999999999998</c:v>
                </c:pt>
                <c:pt idx="99" formatCode="0.000">
                  <c:v>1.9565999999999999</c:v>
                </c:pt>
                <c:pt idx="100" formatCode="0.000">
                  <c:v>1.7637</c:v>
                </c:pt>
                <c:pt idx="101" formatCode="0.000">
                  <c:v>1.5431999999999999</c:v>
                </c:pt>
                <c:pt idx="102" formatCode="0.000">
                  <c:v>1.4054</c:v>
                </c:pt>
                <c:pt idx="103" formatCode="0.000">
                  <c:v>1.1850000000000001</c:v>
                </c:pt>
                <c:pt idx="104" formatCode="0.000">
                  <c:v>1.2345999999999999</c:v>
                </c:pt>
                <c:pt idx="105" formatCode="0.000">
                  <c:v>1.6535</c:v>
                </c:pt>
                <c:pt idx="106" formatCode="0.000">
                  <c:v>1.8464</c:v>
                </c:pt>
                <c:pt idx="107" formatCode="0.000">
                  <c:v>2.1164000000000001</c:v>
                </c:pt>
                <c:pt idx="108" formatCode="0.000">
                  <c:v>2.2183999999999999</c:v>
                </c:pt>
                <c:pt idx="109" formatCode="0.000">
                  <c:v>2.1770999999999998</c:v>
                </c:pt>
                <c:pt idx="110" formatCode="0.000">
                  <c:v>2.2818000000000001</c:v>
                </c:pt>
                <c:pt idx="111" formatCode="0.000">
                  <c:v>2.4525999999999999</c:v>
                </c:pt>
                <c:pt idx="112" formatCode="0.000">
                  <c:v>2.5265</c:v>
                </c:pt>
                <c:pt idx="113" formatCode="0.000">
                  <c:v>2.6455000000000002</c:v>
                </c:pt>
                <c:pt idx="114" formatCode="0.000">
                  <c:v>2.6455000000000002</c:v>
                </c:pt>
                <c:pt idx="115" formatCode="0.000">
                  <c:v>2.6455000000000002</c:v>
                </c:pt>
                <c:pt idx="116" formatCode="0.000">
                  <c:v>2.7557999999999998</c:v>
                </c:pt>
                <c:pt idx="117" formatCode="0.000">
                  <c:v>2.7557999999999998</c:v>
                </c:pt>
                <c:pt idx="118" formatCode="0.000">
                  <c:v>2.7557999999999998</c:v>
                </c:pt>
                <c:pt idx="119" formatCode="0.000">
                  <c:v>2.7866</c:v>
                </c:pt>
                <c:pt idx="120" formatCode="0.000">
                  <c:v>2.7145000000000001</c:v>
                </c:pt>
                <c:pt idx="121" formatCode="0.000">
                  <c:v>2.6654</c:v>
                </c:pt>
                <c:pt idx="122" formatCode="0.000">
                  <c:v>2.5188000000000001</c:v>
                </c:pt>
                <c:pt idx="123" formatCode="0.000">
                  <c:v>2.3424</c:v>
                </c:pt>
                <c:pt idx="124" formatCode="0.000">
                  <c:v>2.1936</c:v>
                </c:pt>
                <c:pt idx="125" formatCode="0.000">
                  <c:v>2.2046000000000001</c:v>
                </c:pt>
                <c:pt idx="126" formatCode="0.000">
                  <c:v>2.3837999999999999</c:v>
                </c:pt>
                <c:pt idx="127" formatCode="0.000">
                  <c:v>2.3224999999999998</c:v>
                </c:pt>
                <c:pt idx="128" formatCode="0.000">
                  <c:v>2.2486999999999999</c:v>
                </c:pt>
                <c:pt idx="129" formatCode="0.000">
                  <c:v>2.3214999999999999</c:v>
                </c:pt>
                <c:pt idx="130" formatCode="0.000">
                  <c:v>2.246</c:v>
                </c:pt>
                <c:pt idx="131" formatCode="0.000">
                  <c:v>2.1909000000000001</c:v>
                </c:pt>
                <c:pt idx="132" formatCode="0.000">
                  <c:v>2.3479999999999999</c:v>
                </c:pt>
                <c:pt idx="133" formatCode="0.000">
                  <c:v>2.2046000000000001</c:v>
                </c:pt>
                <c:pt idx="134" formatCode="0.000">
                  <c:v>2.2597</c:v>
                </c:pt>
                <c:pt idx="135" formatCode="0.000">
                  <c:v>2.4527000000000001</c:v>
                </c:pt>
                <c:pt idx="136" formatCode="0.000">
                  <c:v>2.5573000000000001</c:v>
                </c:pt>
                <c:pt idx="137" formatCode="0.000">
                  <c:v>2.5352999999999999</c:v>
                </c:pt>
                <c:pt idx="138" formatCode="0.000">
                  <c:v>2.5352999999999999</c:v>
                </c:pt>
                <c:pt idx="139" formatCode="0.000">
                  <c:v>2.5352999999999999</c:v>
                </c:pt>
                <c:pt idx="140" formatCode="0.000">
                  <c:v>2.5352999999999999</c:v>
                </c:pt>
                <c:pt idx="141" formatCode="0.000">
                  <c:v>2.7006999999999999</c:v>
                </c:pt>
                <c:pt idx="142" formatCode="0.000">
                  <c:v>2.8384999999999998</c:v>
                </c:pt>
                <c:pt idx="143" formatCode="0.000">
                  <c:v>2.7282000000000002</c:v>
                </c:pt>
                <c:pt idx="144" formatCode="0.000">
                  <c:v>2.0503</c:v>
                </c:pt>
                <c:pt idx="145" formatCode="0.000">
                  <c:v>1.2125999999999999</c:v>
                </c:pt>
                <c:pt idx="146" formatCode="0.000">
                  <c:v>1.0334000000000001</c:v>
                </c:pt>
                <c:pt idx="147" formatCode="0.000">
                  <c:v>0.99209999999999998</c:v>
                </c:pt>
                <c:pt idx="148" formatCode="0.000">
                  <c:v>0.93700000000000006</c:v>
                </c:pt>
                <c:pt idx="149" formatCode="0.000">
                  <c:v>0.93700000000000006</c:v>
                </c:pt>
                <c:pt idx="150" formatCode="0.000">
                  <c:v>1.0471999999999999</c:v>
                </c:pt>
                <c:pt idx="151" formatCode="0.000">
                  <c:v>1.2951999999999999</c:v>
                </c:pt>
                <c:pt idx="152" formatCode="0.000">
                  <c:v>1.7526999999999999</c:v>
                </c:pt>
                <c:pt idx="153" formatCode="0.000">
                  <c:v>2.9487000000000001</c:v>
                </c:pt>
                <c:pt idx="154" formatCode="0.000">
                  <c:v>3.4034</c:v>
                </c:pt>
                <c:pt idx="155" formatCode="0.000">
                  <c:v>3.3896000000000002</c:v>
                </c:pt>
                <c:pt idx="156" formatCode="0.000">
                  <c:v>3.8029999999999999</c:v>
                </c:pt>
                <c:pt idx="157" formatCode="0.000">
                  <c:v>3.362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73B-4C82-94E3-622C968FEEC2}"/>
            </c:ext>
          </c:extLst>
        </c:ser>
        <c:ser>
          <c:idx val="3"/>
          <c:order val="3"/>
          <c:tx>
            <c:strRef>
              <c:f>Synthese!$E$4</c:f>
              <c:strCache>
                <c:ptCount val="1"/>
                <c:pt idx="0">
                  <c:v>FerroTi Scraps</c:v>
                </c:pt>
              </c:strCache>
            </c:strRef>
          </c:tx>
          <c:spPr>
            <a:ln>
              <a:solidFill>
                <a:srgbClr val="FA6414"/>
              </a:solidFill>
            </a:ln>
          </c:spPr>
          <c:marker>
            <c:symbol val="none"/>
          </c:marker>
          <c:cat>
            <c:numRef>
              <c:f>Synthese!$A$5:$A$198</c:f>
              <c:numCache>
                <c:formatCode>[$-409]mmm\-yy;@</c:formatCode>
                <c:ptCount val="158"/>
                <c:pt idx="0">
                  <c:v>39539</c:v>
                </c:pt>
                <c:pt idx="1">
                  <c:v>39569</c:v>
                </c:pt>
                <c:pt idx="2">
                  <c:v>39600</c:v>
                </c:pt>
                <c:pt idx="3">
                  <c:v>39630</c:v>
                </c:pt>
                <c:pt idx="4">
                  <c:v>39661</c:v>
                </c:pt>
                <c:pt idx="5">
                  <c:v>39692</c:v>
                </c:pt>
                <c:pt idx="6">
                  <c:v>39722</c:v>
                </c:pt>
                <c:pt idx="7">
                  <c:v>39753</c:v>
                </c:pt>
                <c:pt idx="8">
                  <c:v>39783</c:v>
                </c:pt>
                <c:pt idx="9">
                  <c:v>39814</c:v>
                </c:pt>
                <c:pt idx="10">
                  <c:v>39845</c:v>
                </c:pt>
                <c:pt idx="11">
                  <c:v>39873</c:v>
                </c:pt>
                <c:pt idx="12">
                  <c:v>39904</c:v>
                </c:pt>
                <c:pt idx="13">
                  <c:v>39934</c:v>
                </c:pt>
                <c:pt idx="14">
                  <c:v>39965</c:v>
                </c:pt>
                <c:pt idx="15">
                  <c:v>39995</c:v>
                </c:pt>
                <c:pt idx="16">
                  <c:v>40026</c:v>
                </c:pt>
                <c:pt idx="17">
                  <c:v>40057</c:v>
                </c:pt>
                <c:pt idx="18">
                  <c:v>40087</c:v>
                </c:pt>
                <c:pt idx="19">
                  <c:v>40118</c:v>
                </c:pt>
                <c:pt idx="20">
                  <c:v>40148</c:v>
                </c:pt>
                <c:pt idx="21">
                  <c:v>40179</c:v>
                </c:pt>
                <c:pt idx="22">
                  <c:v>40210</c:v>
                </c:pt>
                <c:pt idx="23">
                  <c:v>40238</c:v>
                </c:pt>
                <c:pt idx="24">
                  <c:v>40269</c:v>
                </c:pt>
                <c:pt idx="25">
                  <c:v>40299</c:v>
                </c:pt>
                <c:pt idx="26">
                  <c:v>40330</c:v>
                </c:pt>
                <c:pt idx="27">
                  <c:v>40360</c:v>
                </c:pt>
                <c:pt idx="28">
                  <c:v>40391</c:v>
                </c:pt>
                <c:pt idx="29">
                  <c:v>40422</c:v>
                </c:pt>
                <c:pt idx="30">
                  <c:v>40452</c:v>
                </c:pt>
                <c:pt idx="31">
                  <c:v>40483</c:v>
                </c:pt>
                <c:pt idx="32">
                  <c:v>40513</c:v>
                </c:pt>
                <c:pt idx="33">
                  <c:v>40544</c:v>
                </c:pt>
                <c:pt idx="34">
                  <c:v>40575</c:v>
                </c:pt>
                <c:pt idx="35">
                  <c:v>40603</c:v>
                </c:pt>
                <c:pt idx="36">
                  <c:v>40634</c:v>
                </c:pt>
                <c:pt idx="37">
                  <c:v>40664</c:v>
                </c:pt>
                <c:pt idx="38">
                  <c:v>40695</c:v>
                </c:pt>
                <c:pt idx="39">
                  <c:v>40725</c:v>
                </c:pt>
                <c:pt idx="40">
                  <c:v>40756</c:v>
                </c:pt>
                <c:pt idx="41">
                  <c:v>40787</c:v>
                </c:pt>
                <c:pt idx="42">
                  <c:v>40817</c:v>
                </c:pt>
                <c:pt idx="43">
                  <c:v>40848</c:v>
                </c:pt>
                <c:pt idx="44">
                  <c:v>40878</c:v>
                </c:pt>
                <c:pt idx="45">
                  <c:v>40909</c:v>
                </c:pt>
                <c:pt idx="46">
                  <c:v>40940</c:v>
                </c:pt>
                <c:pt idx="47">
                  <c:v>40969</c:v>
                </c:pt>
                <c:pt idx="48">
                  <c:v>41000</c:v>
                </c:pt>
                <c:pt idx="49">
                  <c:v>41030</c:v>
                </c:pt>
                <c:pt idx="50">
                  <c:v>41061</c:v>
                </c:pt>
                <c:pt idx="51">
                  <c:v>41091</c:v>
                </c:pt>
                <c:pt idx="52">
                  <c:v>41122</c:v>
                </c:pt>
                <c:pt idx="53">
                  <c:v>41153</c:v>
                </c:pt>
                <c:pt idx="54">
                  <c:v>41183</c:v>
                </c:pt>
                <c:pt idx="55">
                  <c:v>41214</c:v>
                </c:pt>
                <c:pt idx="56">
                  <c:v>41244</c:v>
                </c:pt>
                <c:pt idx="57">
                  <c:v>41275</c:v>
                </c:pt>
                <c:pt idx="58">
                  <c:v>41306</c:v>
                </c:pt>
                <c:pt idx="59">
                  <c:v>41334</c:v>
                </c:pt>
                <c:pt idx="60">
                  <c:v>41365</c:v>
                </c:pt>
                <c:pt idx="61">
                  <c:v>41395</c:v>
                </c:pt>
                <c:pt idx="62">
                  <c:v>41426</c:v>
                </c:pt>
                <c:pt idx="63">
                  <c:v>41456</c:v>
                </c:pt>
                <c:pt idx="64">
                  <c:v>41487</c:v>
                </c:pt>
                <c:pt idx="65">
                  <c:v>41518</c:v>
                </c:pt>
                <c:pt idx="66">
                  <c:v>41548</c:v>
                </c:pt>
                <c:pt idx="67">
                  <c:v>41579</c:v>
                </c:pt>
                <c:pt idx="68">
                  <c:v>41609</c:v>
                </c:pt>
                <c:pt idx="69">
                  <c:v>41640</c:v>
                </c:pt>
                <c:pt idx="70">
                  <c:v>41671</c:v>
                </c:pt>
                <c:pt idx="71">
                  <c:v>41699</c:v>
                </c:pt>
                <c:pt idx="72">
                  <c:v>41730</c:v>
                </c:pt>
                <c:pt idx="73">
                  <c:v>41760</c:v>
                </c:pt>
                <c:pt idx="74">
                  <c:v>41791</c:v>
                </c:pt>
                <c:pt idx="75">
                  <c:v>41821</c:v>
                </c:pt>
                <c:pt idx="76">
                  <c:v>41852</c:v>
                </c:pt>
                <c:pt idx="77">
                  <c:v>41883</c:v>
                </c:pt>
                <c:pt idx="78">
                  <c:v>41913</c:v>
                </c:pt>
                <c:pt idx="79">
                  <c:v>41944</c:v>
                </c:pt>
                <c:pt idx="80">
                  <c:v>41974</c:v>
                </c:pt>
                <c:pt idx="81">
                  <c:v>42005</c:v>
                </c:pt>
                <c:pt idx="82">
                  <c:v>42036</c:v>
                </c:pt>
                <c:pt idx="83">
                  <c:v>42064</c:v>
                </c:pt>
                <c:pt idx="84">
                  <c:v>42095</c:v>
                </c:pt>
                <c:pt idx="85">
                  <c:v>42125</c:v>
                </c:pt>
                <c:pt idx="86">
                  <c:v>42156</c:v>
                </c:pt>
                <c:pt idx="87">
                  <c:v>42186</c:v>
                </c:pt>
                <c:pt idx="88">
                  <c:v>42217</c:v>
                </c:pt>
                <c:pt idx="89">
                  <c:v>42248</c:v>
                </c:pt>
                <c:pt idx="90">
                  <c:v>42278</c:v>
                </c:pt>
                <c:pt idx="91">
                  <c:v>42309</c:v>
                </c:pt>
                <c:pt idx="92">
                  <c:v>42339</c:v>
                </c:pt>
                <c:pt idx="93">
                  <c:v>42370</c:v>
                </c:pt>
                <c:pt idx="94">
                  <c:v>42401</c:v>
                </c:pt>
                <c:pt idx="95">
                  <c:v>42430</c:v>
                </c:pt>
                <c:pt idx="96">
                  <c:v>42461</c:v>
                </c:pt>
                <c:pt idx="97">
                  <c:v>42491</c:v>
                </c:pt>
                <c:pt idx="98">
                  <c:v>42522</c:v>
                </c:pt>
                <c:pt idx="99">
                  <c:v>42552</c:v>
                </c:pt>
                <c:pt idx="100">
                  <c:v>42583</c:v>
                </c:pt>
                <c:pt idx="101">
                  <c:v>42614</c:v>
                </c:pt>
                <c:pt idx="102">
                  <c:v>42644</c:v>
                </c:pt>
                <c:pt idx="103">
                  <c:v>42675</c:v>
                </c:pt>
                <c:pt idx="104">
                  <c:v>42705</c:v>
                </c:pt>
                <c:pt idx="105">
                  <c:v>42736</c:v>
                </c:pt>
                <c:pt idx="106">
                  <c:v>42767</c:v>
                </c:pt>
                <c:pt idx="107">
                  <c:v>42795</c:v>
                </c:pt>
                <c:pt idx="108">
                  <c:v>42826</c:v>
                </c:pt>
                <c:pt idx="109">
                  <c:v>42856</c:v>
                </c:pt>
                <c:pt idx="110">
                  <c:v>42887</c:v>
                </c:pt>
                <c:pt idx="111">
                  <c:v>42917</c:v>
                </c:pt>
                <c:pt idx="112">
                  <c:v>42948</c:v>
                </c:pt>
                <c:pt idx="113">
                  <c:v>42979</c:v>
                </c:pt>
                <c:pt idx="114">
                  <c:v>43009</c:v>
                </c:pt>
                <c:pt idx="115">
                  <c:v>43040</c:v>
                </c:pt>
                <c:pt idx="116">
                  <c:v>43070</c:v>
                </c:pt>
                <c:pt idx="117">
                  <c:v>43101</c:v>
                </c:pt>
                <c:pt idx="118">
                  <c:v>43132</c:v>
                </c:pt>
                <c:pt idx="119">
                  <c:v>43160</c:v>
                </c:pt>
                <c:pt idx="120">
                  <c:v>43191</c:v>
                </c:pt>
                <c:pt idx="121">
                  <c:v>43221</c:v>
                </c:pt>
                <c:pt idx="122">
                  <c:v>43252</c:v>
                </c:pt>
                <c:pt idx="123">
                  <c:v>43282</c:v>
                </c:pt>
                <c:pt idx="124">
                  <c:v>43313</c:v>
                </c:pt>
                <c:pt idx="125">
                  <c:v>43344</c:v>
                </c:pt>
                <c:pt idx="126">
                  <c:v>43374</c:v>
                </c:pt>
                <c:pt idx="127">
                  <c:v>43405</c:v>
                </c:pt>
                <c:pt idx="128">
                  <c:v>43435</c:v>
                </c:pt>
                <c:pt idx="129">
                  <c:v>43466</c:v>
                </c:pt>
                <c:pt idx="130">
                  <c:v>43497</c:v>
                </c:pt>
                <c:pt idx="131">
                  <c:v>43525</c:v>
                </c:pt>
                <c:pt idx="132">
                  <c:v>43556</c:v>
                </c:pt>
                <c:pt idx="133">
                  <c:v>43586</c:v>
                </c:pt>
                <c:pt idx="134">
                  <c:v>43617</c:v>
                </c:pt>
                <c:pt idx="135">
                  <c:v>43647</c:v>
                </c:pt>
                <c:pt idx="136">
                  <c:v>43678</c:v>
                </c:pt>
                <c:pt idx="137">
                  <c:v>43709</c:v>
                </c:pt>
                <c:pt idx="138">
                  <c:v>43739</c:v>
                </c:pt>
                <c:pt idx="139">
                  <c:v>43770</c:v>
                </c:pt>
                <c:pt idx="140">
                  <c:v>43800</c:v>
                </c:pt>
                <c:pt idx="141">
                  <c:v>43831</c:v>
                </c:pt>
                <c:pt idx="142">
                  <c:v>43862</c:v>
                </c:pt>
                <c:pt idx="143">
                  <c:v>43891</c:v>
                </c:pt>
                <c:pt idx="144">
                  <c:v>43922</c:v>
                </c:pt>
                <c:pt idx="145">
                  <c:v>43952</c:v>
                </c:pt>
                <c:pt idx="146">
                  <c:v>43983</c:v>
                </c:pt>
                <c:pt idx="147">
                  <c:v>44013</c:v>
                </c:pt>
                <c:pt idx="148">
                  <c:v>44044</c:v>
                </c:pt>
                <c:pt idx="149">
                  <c:v>44075</c:v>
                </c:pt>
                <c:pt idx="150">
                  <c:v>44105</c:v>
                </c:pt>
                <c:pt idx="151">
                  <c:v>44136</c:v>
                </c:pt>
                <c:pt idx="152">
                  <c:v>44166</c:v>
                </c:pt>
                <c:pt idx="153">
                  <c:v>44197</c:v>
                </c:pt>
                <c:pt idx="154">
                  <c:v>44228</c:v>
                </c:pt>
                <c:pt idx="155">
                  <c:v>44256</c:v>
                </c:pt>
                <c:pt idx="156">
                  <c:v>44287</c:v>
                </c:pt>
                <c:pt idx="157">
                  <c:v>44317</c:v>
                </c:pt>
              </c:numCache>
            </c:numRef>
          </c:cat>
          <c:val>
            <c:numRef>
              <c:f>Synthese!$E$5:$E$198</c:f>
              <c:numCache>
                <c:formatCode>General</c:formatCode>
                <c:ptCount val="158"/>
                <c:pt idx="0">
                  <c:v>3.3439999999999999</c:v>
                </c:pt>
                <c:pt idx="1">
                  <c:v>3.4169999999999998</c:v>
                </c:pt>
                <c:pt idx="2">
                  <c:v>3.16</c:v>
                </c:pt>
                <c:pt idx="3">
                  <c:v>2.9769999999999999</c:v>
                </c:pt>
                <c:pt idx="4">
                  <c:v>2.7559999999999998</c:v>
                </c:pt>
                <c:pt idx="5">
                  <c:v>2.7010000000000001</c:v>
                </c:pt>
                <c:pt idx="6">
                  <c:v>1.389</c:v>
                </c:pt>
                <c:pt idx="7">
                  <c:v>0.88200000000000001</c:v>
                </c:pt>
                <c:pt idx="8">
                  <c:v>0.71699999999999997</c:v>
                </c:pt>
                <c:pt idx="9">
                  <c:v>0.496</c:v>
                </c:pt>
                <c:pt idx="10">
                  <c:v>0.28100000000000003</c:v>
                </c:pt>
                <c:pt idx="11">
                  <c:v>0.26100000000000001</c:v>
                </c:pt>
                <c:pt idx="12">
                  <c:v>0.25900000000000001</c:v>
                </c:pt>
                <c:pt idx="13">
                  <c:v>0.312</c:v>
                </c:pt>
                <c:pt idx="14">
                  <c:v>0.312</c:v>
                </c:pt>
                <c:pt idx="15">
                  <c:v>0.36399999999999999</c:v>
                </c:pt>
                <c:pt idx="16">
                  <c:v>0.93700000000000006</c:v>
                </c:pt>
                <c:pt idx="17">
                  <c:v>1.2130000000000001</c:v>
                </c:pt>
                <c:pt idx="18">
                  <c:v>1.1579999999999999</c:v>
                </c:pt>
                <c:pt idx="19">
                  <c:v>1.2130000000000001</c:v>
                </c:pt>
                <c:pt idx="20">
                  <c:v>1.452</c:v>
                </c:pt>
                <c:pt idx="21">
                  <c:v>2.0390000000000001</c:v>
                </c:pt>
                <c:pt idx="22">
                  <c:v>3.0590000000000002</c:v>
                </c:pt>
                <c:pt idx="23">
                  <c:v>4.0789999999999997</c:v>
                </c:pt>
                <c:pt idx="24">
                  <c:v>4.2880000000000003</c:v>
                </c:pt>
                <c:pt idx="25">
                  <c:v>3.3759999999999999</c:v>
                </c:pt>
                <c:pt idx="26">
                  <c:v>2.37</c:v>
                </c:pt>
                <c:pt idx="27">
                  <c:v>2.2050000000000001</c:v>
                </c:pt>
                <c:pt idx="28">
                  <c:v>2.7930000000000001</c:v>
                </c:pt>
                <c:pt idx="29">
                  <c:v>3.1419999999999999</c:v>
                </c:pt>
                <c:pt idx="30">
                  <c:v>3.1749999999999998</c:v>
                </c:pt>
                <c:pt idx="31">
                  <c:v>3.1230000000000002</c:v>
                </c:pt>
                <c:pt idx="32">
                  <c:v>3.3730000000000002</c:v>
                </c:pt>
                <c:pt idx="33">
                  <c:v>3.5830000000000002</c:v>
                </c:pt>
                <c:pt idx="34">
                  <c:v>3.895</c:v>
                </c:pt>
                <c:pt idx="35">
                  <c:v>4.0510000000000002</c:v>
                </c:pt>
                <c:pt idx="36">
                  <c:v>4.101</c:v>
                </c:pt>
                <c:pt idx="37">
                  <c:v>4.2990000000000004</c:v>
                </c:pt>
                <c:pt idx="38">
                  <c:v>4.63</c:v>
                </c:pt>
                <c:pt idx="39">
                  <c:v>4.9880000000000004</c:v>
                </c:pt>
                <c:pt idx="40">
                  <c:v>5.1079999999999997</c:v>
                </c:pt>
                <c:pt idx="41">
                  <c:v>4.7619999999999996</c:v>
                </c:pt>
                <c:pt idx="42">
                  <c:v>4.0510000000000002</c:v>
                </c:pt>
                <c:pt idx="43">
                  <c:v>3.3809999999999998</c:v>
                </c:pt>
                <c:pt idx="44">
                  <c:v>3.3069999999999999</c:v>
                </c:pt>
                <c:pt idx="45">
                  <c:v>3.3069999999999999</c:v>
                </c:pt>
                <c:pt idx="46">
                  <c:v>3.528</c:v>
                </c:pt>
                <c:pt idx="47">
                  <c:v>3.4609999999999999</c:v>
                </c:pt>
                <c:pt idx="48">
                  <c:v>3.3344999999999998</c:v>
                </c:pt>
                <c:pt idx="49">
                  <c:v>3.2242999999999999</c:v>
                </c:pt>
                <c:pt idx="50">
                  <c:v>3.0203000000000002</c:v>
                </c:pt>
                <c:pt idx="51">
                  <c:v>2.7833000000000001</c:v>
                </c:pt>
                <c:pt idx="52" formatCode="0.000">
                  <c:v>2.7227000000000001</c:v>
                </c:pt>
                <c:pt idx="53" formatCode="0.000">
                  <c:v>2.7833000000000001</c:v>
                </c:pt>
                <c:pt idx="54" formatCode="0.000">
                  <c:v>2.7006999999999999</c:v>
                </c:pt>
                <c:pt idx="55" formatCode="0.000">
                  <c:v>2.5794000000000001</c:v>
                </c:pt>
                <c:pt idx="56" formatCode="0.000">
                  <c:v>2.7282000000000002</c:v>
                </c:pt>
                <c:pt idx="57" formatCode="0.000">
                  <c:v>2.7006999999999999</c:v>
                </c:pt>
                <c:pt idx="58" formatCode="0.000">
                  <c:v>2.7006999999999999</c:v>
                </c:pt>
                <c:pt idx="59" formatCode="0.000">
                  <c:v>2.6785999999999999</c:v>
                </c:pt>
                <c:pt idx="60" formatCode="0.000">
                  <c:v>2.4526397499999999</c:v>
                </c:pt>
                <c:pt idx="61" formatCode="0.000">
                  <c:v>2.2266661999999999</c:v>
                </c:pt>
                <c:pt idx="62" formatCode="0.000">
                  <c:v>2.1495044999999999</c:v>
                </c:pt>
                <c:pt idx="63" formatCode="0.000">
                  <c:v>2.0255000000000001</c:v>
                </c:pt>
                <c:pt idx="64" formatCode="0.000">
                  <c:v>1.9952000000000001</c:v>
                </c:pt>
                <c:pt idx="65" formatCode="0.000">
                  <c:v>2.0531000000000001</c:v>
                </c:pt>
                <c:pt idx="66" formatCode="0.000">
                  <c:v>2.1082000000000001</c:v>
                </c:pt>
                <c:pt idx="67" formatCode="0.000">
                  <c:v>2.0943999999999998</c:v>
                </c:pt>
                <c:pt idx="68" formatCode="0.000">
                  <c:v>2.1219000000000001</c:v>
                </c:pt>
                <c:pt idx="69" formatCode="0.000">
                  <c:v>2.2046000000000001</c:v>
                </c:pt>
                <c:pt idx="70" formatCode="0.000">
                  <c:v>2.4388999999999998</c:v>
                </c:pt>
                <c:pt idx="71" formatCode="0.000">
                  <c:v>2.4802</c:v>
                </c:pt>
                <c:pt idx="72" formatCode="0.000">
                  <c:v>2.4940000000000002</c:v>
                </c:pt>
                <c:pt idx="73" formatCode="0.000">
                  <c:v>2.5352999999999999</c:v>
                </c:pt>
                <c:pt idx="74" formatCode="0.000">
                  <c:v>2.5352999999999999</c:v>
                </c:pt>
                <c:pt idx="75" formatCode="0.000">
                  <c:v>2.4939763749999999</c:v>
                </c:pt>
                <c:pt idx="76" formatCode="0.000">
                  <c:v>2.4581512999999999</c:v>
                </c:pt>
                <c:pt idx="77" formatCode="0.000">
                  <c:v>2.4250820000000002</c:v>
                </c:pt>
                <c:pt idx="78" formatCode="0.000">
                  <c:v>2.2597355000000001</c:v>
                </c:pt>
                <c:pt idx="79" formatCode="0.000">
                  <c:v>2.1495044999999999</c:v>
                </c:pt>
                <c:pt idx="80" formatCode="0.000">
                  <c:v>2.0943890000000001</c:v>
                </c:pt>
                <c:pt idx="81" formatCode="0.000">
                  <c:v>2.0834000000000001</c:v>
                </c:pt>
                <c:pt idx="82" formatCode="0.000">
                  <c:v>1.8738999999999999</c:v>
                </c:pt>
                <c:pt idx="83" formatCode="0.000">
                  <c:v>1.8738999999999999</c:v>
                </c:pt>
                <c:pt idx="84" formatCode="0.000">
                  <c:v>1.8739269999999999</c:v>
                </c:pt>
                <c:pt idx="85" formatCode="0.000">
                  <c:v>1.5652999999999999</c:v>
                </c:pt>
                <c:pt idx="86" formatCode="0.000">
                  <c:v>1.2677</c:v>
                </c:pt>
                <c:pt idx="87" formatCode="0.000">
                  <c:v>1.2345999999999999</c:v>
                </c:pt>
                <c:pt idx="88" formatCode="0.000">
                  <c:v>1.1988000000000001</c:v>
                </c:pt>
                <c:pt idx="89" formatCode="0.000">
                  <c:v>1.0471999999999999</c:v>
                </c:pt>
                <c:pt idx="90" formatCode="0.000">
                  <c:v>0.91490000000000005</c:v>
                </c:pt>
                <c:pt idx="91" formatCode="0.000">
                  <c:v>0.74409999999999998</c:v>
                </c:pt>
                <c:pt idx="92" formatCode="0.000">
                  <c:v>0.61729999999999996</c:v>
                </c:pt>
                <c:pt idx="93" formatCode="0.000">
                  <c:v>0.55120000000000002</c:v>
                </c:pt>
                <c:pt idx="94" formatCode="0.000">
                  <c:v>0.55120000000000002</c:v>
                </c:pt>
                <c:pt idx="95" formatCode="0.000">
                  <c:v>0.55120000000000002</c:v>
                </c:pt>
                <c:pt idx="96" formatCode="0.000">
                  <c:v>0.55120000000000002</c:v>
                </c:pt>
                <c:pt idx="97" formatCode="0.000">
                  <c:v>0.60629999999999995</c:v>
                </c:pt>
                <c:pt idx="98" formatCode="0.000">
                  <c:v>0.72750000000000004</c:v>
                </c:pt>
                <c:pt idx="99" formatCode="0.000">
                  <c:v>0.74409999999999998</c:v>
                </c:pt>
                <c:pt idx="100" formatCode="0.000">
                  <c:v>0.74409999999999998</c:v>
                </c:pt>
                <c:pt idx="101" formatCode="0.000">
                  <c:v>0.59519999999999995</c:v>
                </c:pt>
                <c:pt idx="102" formatCode="0.000">
                  <c:v>0.59250000000000003</c:v>
                </c:pt>
                <c:pt idx="103" formatCode="0.000">
                  <c:v>0.48230000000000001</c:v>
                </c:pt>
                <c:pt idx="104" formatCode="0.000">
                  <c:v>0.4299</c:v>
                </c:pt>
                <c:pt idx="105" formatCode="0.000">
                  <c:v>0.63380000000000003</c:v>
                </c:pt>
                <c:pt idx="106" formatCode="0.000">
                  <c:v>0.77710000000000001</c:v>
                </c:pt>
                <c:pt idx="107" formatCode="0.000">
                  <c:v>0.8488</c:v>
                </c:pt>
                <c:pt idx="108" formatCode="0.000">
                  <c:v>0.89559999999999995</c:v>
                </c:pt>
                <c:pt idx="109" formatCode="0.000">
                  <c:v>0.96450000000000002</c:v>
                </c:pt>
                <c:pt idx="110" formatCode="0.000">
                  <c:v>1.0250999999999999</c:v>
                </c:pt>
                <c:pt idx="111" formatCode="0.000">
                  <c:v>0.93700000000000006</c:v>
                </c:pt>
                <c:pt idx="112" formatCode="0.000">
                  <c:v>0.90610000000000002</c:v>
                </c:pt>
                <c:pt idx="113" formatCode="0.000">
                  <c:v>1.1574</c:v>
                </c:pt>
                <c:pt idx="114" formatCode="0.000">
                  <c:v>1.3338000000000001</c:v>
                </c:pt>
                <c:pt idx="115" formatCode="0.000">
                  <c:v>1.2677</c:v>
                </c:pt>
                <c:pt idx="116" formatCode="0.000">
                  <c:v>1.3117000000000001</c:v>
                </c:pt>
                <c:pt idx="117" formatCode="0.000">
                  <c:v>1.2456</c:v>
                </c:pt>
                <c:pt idx="118" formatCode="0.000">
                  <c:v>1.1794</c:v>
                </c:pt>
                <c:pt idx="119" formatCode="0.000">
                  <c:v>1.1508</c:v>
                </c:pt>
                <c:pt idx="120" formatCode="0.000">
                  <c:v>1.1077999999999999</c:v>
                </c:pt>
                <c:pt idx="121" formatCode="0.000">
                  <c:v>1.056</c:v>
                </c:pt>
                <c:pt idx="122" formatCode="0.000">
                  <c:v>1.1409</c:v>
                </c:pt>
                <c:pt idx="123" formatCode="0.000">
                  <c:v>1.1574</c:v>
                </c:pt>
                <c:pt idx="124" formatCode="0.000">
                  <c:v>1.1574</c:v>
                </c:pt>
                <c:pt idx="125" formatCode="0.000">
                  <c:v>1.1629</c:v>
                </c:pt>
                <c:pt idx="126" formatCode="0.000">
                  <c:v>1.1354</c:v>
                </c:pt>
                <c:pt idx="127" formatCode="0.000">
                  <c:v>1.1133</c:v>
                </c:pt>
                <c:pt idx="128" formatCode="0.000">
                  <c:v>1.0250999999999999</c:v>
                </c:pt>
                <c:pt idx="129" formatCode="0.000">
                  <c:v>1.0626</c:v>
                </c:pt>
                <c:pt idx="130" formatCode="0.000">
                  <c:v>1.0306999999999999</c:v>
                </c:pt>
                <c:pt idx="131" formatCode="0.000">
                  <c:v>1.0885</c:v>
                </c:pt>
                <c:pt idx="132" formatCode="0.000">
                  <c:v>1.1518999999999999</c:v>
                </c:pt>
                <c:pt idx="133" formatCode="0.000">
                  <c:v>0</c:v>
                </c:pt>
                <c:pt idx="134" formatCode="0.000">
                  <c:v>1.1023000000000001</c:v>
                </c:pt>
                <c:pt idx="135" formatCode="0.000">
                  <c:v>1.0609999999999999</c:v>
                </c:pt>
                <c:pt idx="136" formatCode="0.000">
                  <c:v>1.0471999999999999</c:v>
                </c:pt>
                <c:pt idx="137" formatCode="0.000">
                  <c:v>1.0471999999999999</c:v>
                </c:pt>
                <c:pt idx="138" formatCode="0.000">
                  <c:v>1.0471999999999999</c:v>
                </c:pt>
                <c:pt idx="139" formatCode="0.000">
                  <c:v>0.97009999999999996</c:v>
                </c:pt>
                <c:pt idx="140" formatCode="0.000">
                  <c:v>0.93700000000000006</c:v>
                </c:pt>
                <c:pt idx="141" formatCode="0.000">
                  <c:v>0.90610000000000002</c:v>
                </c:pt>
                <c:pt idx="142" formatCode="0.000">
                  <c:v>0.7248</c:v>
                </c:pt>
                <c:pt idx="143" formatCode="0.000">
                  <c:v>0.70550000000000002</c:v>
                </c:pt>
                <c:pt idx="144" formatCode="0.000">
                  <c:v>0.63929999999999998</c:v>
                </c:pt>
                <c:pt idx="145" formatCode="0.000">
                  <c:v>0.66139999999999999</c:v>
                </c:pt>
                <c:pt idx="146" formatCode="0.000">
                  <c:v>0.60629999999999995</c:v>
                </c:pt>
                <c:pt idx="147" formatCode="0.000">
                  <c:v>0.50700000000000001</c:v>
                </c:pt>
                <c:pt idx="148" formatCode="0.000">
                  <c:v>0.496</c:v>
                </c:pt>
                <c:pt idx="149" formatCode="0.000">
                  <c:v>0.496</c:v>
                </c:pt>
                <c:pt idx="150" formatCode="0.000">
                  <c:v>0.81569999999999998</c:v>
                </c:pt>
                <c:pt idx="151" formatCode="0.000">
                  <c:v>1.2401</c:v>
                </c:pt>
                <c:pt idx="152" formatCode="0.000">
                  <c:v>1.7283999999999999</c:v>
                </c:pt>
                <c:pt idx="153" formatCode="0.000">
                  <c:v>2.5078</c:v>
                </c:pt>
                <c:pt idx="154" formatCode="0.000">
                  <c:v>2.7833000000000001</c:v>
                </c:pt>
                <c:pt idx="155" formatCode="0.000">
                  <c:v>3.3759000000000001</c:v>
                </c:pt>
                <c:pt idx="156" formatCode="0.000">
                  <c:v>3.0424000000000002</c:v>
                </c:pt>
                <c:pt idx="157" formatCode="0.000">
                  <c:v>2.866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73B-4C82-94E3-622C968FEEC2}"/>
            </c:ext>
          </c:extLst>
        </c:ser>
        <c:ser>
          <c:idx val="5"/>
          <c:order val="4"/>
          <c:tx>
            <c:strRef>
              <c:f>Synthese!$G$4</c:f>
              <c:strCache>
                <c:ptCount val="1"/>
                <c:pt idx="0">
                  <c:v>Sponges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none"/>
          </c:marker>
          <c:cat>
            <c:numRef>
              <c:f>Synthese!$A$5:$A$198</c:f>
              <c:numCache>
                <c:formatCode>[$-409]mmm\-yy;@</c:formatCode>
                <c:ptCount val="158"/>
                <c:pt idx="0">
                  <c:v>39539</c:v>
                </c:pt>
                <c:pt idx="1">
                  <c:v>39569</c:v>
                </c:pt>
                <c:pt idx="2">
                  <c:v>39600</c:v>
                </c:pt>
                <c:pt idx="3">
                  <c:v>39630</c:v>
                </c:pt>
                <c:pt idx="4">
                  <c:v>39661</c:v>
                </c:pt>
                <c:pt idx="5">
                  <c:v>39692</c:v>
                </c:pt>
                <c:pt idx="6">
                  <c:v>39722</c:v>
                </c:pt>
                <c:pt idx="7">
                  <c:v>39753</c:v>
                </c:pt>
                <c:pt idx="8">
                  <c:v>39783</c:v>
                </c:pt>
                <c:pt idx="9">
                  <c:v>39814</c:v>
                </c:pt>
                <c:pt idx="10">
                  <c:v>39845</c:v>
                </c:pt>
                <c:pt idx="11">
                  <c:v>39873</c:v>
                </c:pt>
                <c:pt idx="12">
                  <c:v>39904</c:v>
                </c:pt>
                <c:pt idx="13">
                  <c:v>39934</c:v>
                </c:pt>
                <c:pt idx="14">
                  <c:v>39965</c:v>
                </c:pt>
                <c:pt idx="15">
                  <c:v>39995</c:v>
                </c:pt>
                <c:pt idx="16">
                  <c:v>40026</c:v>
                </c:pt>
                <c:pt idx="17">
                  <c:v>40057</c:v>
                </c:pt>
                <c:pt idx="18">
                  <c:v>40087</c:v>
                </c:pt>
                <c:pt idx="19">
                  <c:v>40118</c:v>
                </c:pt>
                <c:pt idx="20">
                  <c:v>40148</c:v>
                </c:pt>
                <c:pt idx="21">
                  <c:v>40179</c:v>
                </c:pt>
                <c:pt idx="22">
                  <c:v>40210</c:v>
                </c:pt>
                <c:pt idx="23">
                  <c:v>40238</c:v>
                </c:pt>
                <c:pt idx="24">
                  <c:v>40269</c:v>
                </c:pt>
                <c:pt idx="25">
                  <c:v>40299</c:v>
                </c:pt>
                <c:pt idx="26">
                  <c:v>40330</c:v>
                </c:pt>
                <c:pt idx="27">
                  <c:v>40360</c:v>
                </c:pt>
                <c:pt idx="28">
                  <c:v>40391</c:v>
                </c:pt>
                <c:pt idx="29">
                  <c:v>40422</c:v>
                </c:pt>
                <c:pt idx="30">
                  <c:v>40452</c:v>
                </c:pt>
                <c:pt idx="31">
                  <c:v>40483</c:v>
                </c:pt>
                <c:pt idx="32">
                  <c:v>40513</c:v>
                </c:pt>
                <c:pt idx="33">
                  <c:v>40544</c:v>
                </c:pt>
                <c:pt idx="34">
                  <c:v>40575</c:v>
                </c:pt>
                <c:pt idx="35">
                  <c:v>40603</c:v>
                </c:pt>
                <c:pt idx="36">
                  <c:v>40634</c:v>
                </c:pt>
                <c:pt idx="37">
                  <c:v>40664</c:v>
                </c:pt>
                <c:pt idx="38">
                  <c:v>40695</c:v>
                </c:pt>
                <c:pt idx="39">
                  <c:v>40725</c:v>
                </c:pt>
                <c:pt idx="40">
                  <c:v>40756</c:v>
                </c:pt>
                <c:pt idx="41">
                  <c:v>40787</c:v>
                </c:pt>
                <c:pt idx="42">
                  <c:v>40817</c:v>
                </c:pt>
                <c:pt idx="43">
                  <c:v>40848</c:v>
                </c:pt>
                <c:pt idx="44">
                  <c:v>40878</c:v>
                </c:pt>
                <c:pt idx="45">
                  <c:v>40909</c:v>
                </c:pt>
                <c:pt idx="46">
                  <c:v>40940</c:v>
                </c:pt>
                <c:pt idx="47">
                  <c:v>40969</c:v>
                </c:pt>
                <c:pt idx="48">
                  <c:v>41000</c:v>
                </c:pt>
                <c:pt idx="49">
                  <c:v>41030</c:v>
                </c:pt>
                <c:pt idx="50">
                  <c:v>41061</c:v>
                </c:pt>
                <c:pt idx="51">
                  <c:v>41091</c:v>
                </c:pt>
                <c:pt idx="52">
                  <c:v>41122</c:v>
                </c:pt>
                <c:pt idx="53">
                  <c:v>41153</c:v>
                </c:pt>
                <c:pt idx="54">
                  <c:v>41183</c:v>
                </c:pt>
                <c:pt idx="55">
                  <c:v>41214</c:v>
                </c:pt>
                <c:pt idx="56">
                  <c:v>41244</c:v>
                </c:pt>
                <c:pt idx="57">
                  <c:v>41275</c:v>
                </c:pt>
                <c:pt idx="58">
                  <c:v>41306</c:v>
                </c:pt>
                <c:pt idx="59">
                  <c:v>41334</c:v>
                </c:pt>
                <c:pt idx="60">
                  <c:v>41365</c:v>
                </c:pt>
                <c:pt idx="61">
                  <c:v>41395</c:v>
                </c:pt>
                <c:pt idx="62">
                  <c:v>41426</c:v>
                </c:pt>
                <c:pt idx="63">
                  <c:v>41456</c:v>
                </c:pt>
                <c:pt idx="64">
                  <c:v>41487</c:v>
                </c:pt>
                <c:pt idx="65">
                  <c:v>41518</c:v>
                </c:pt>
                <c:pt idx="66">
                  <c:v>41548</c:v>
                </c:pt>
                <c:pt idx="67">
                  <c:v>41579</c:v>
                </c:pt>
                <c:pt idx="68">
                  <c:v>41609</c:v>
                </c:pt>
                <c:pt idx="69">
                  <c:v>41640</c:v>
                </c:pt>
                <c:pt idx="70">
                  <c:v>41671</c:v>
                </c:pt>
                <c:pt idx="71">
                  <c:v>41699</c:v>
                </c:pt>
                <c:pt idx="72">
                  <c:v>41730</c:v>
                </c:pt>
                <c:pt idx="73">
                  <c:v>41760</c:v>
                </c:pt>
                <c:pt idx="74">
                  <c:v>41791</c:v>
                </c:pt>
                <c:pt idx="75">
                  <c:v>41821</c:v>
                </c:pt>
                <c:pt idx="76">
                  <c:v>41852</c:v>
                </c:pt>
                <c:pt idx="77">
                  <c:v>41883</c:v>
                </c:pt>
                <c:pt idx="78">
                  <c:v>41913</c:v>
                </c:pt>
                <c:pt idx="79">
                  <c:v>41944</c:v>
                </c:pt>
                <c:pt idx="80">
                  <c:v>41974</c:v>
                </c:pt>
                <c:pt idx="81">
                  <c:v>42005</c:v>
                </c:pt>
                <c:pt idx="82">
                  <c:v>42036</c:v>
                </c:pt>
                <c:pt idx="83">
                  <c:v>42064</c:v>
                </c:pt>
                <c:pt idx="84">
                  <c:v>42095</c:v>
                </c:pt>
                <c:pt idx="85">
                  <c:v>42125</c:v>
                </c:pt>
                <c:pt idx="86">
                  <c:v>42156</c:v>
                </c:pt>
                <c:pt idx="87">
                  <c:v>42186</c:v>
                </c:pt>
                <c:pt idx="88">
                  <c:v>42217</c:v>
                </c:pt>
                <c:pt idx="89">
                  <c:v>42248</c:v>
                </c:pt>
                <c:pt idx="90">
                  <c:v>42278</c:v>
                </c:pt>
                <c:pt idx="91">
                  <c:v>42309</c:v>
                </c:pt>
                <c:pt idx="92">
                  <c:v>42339</c:v>
                </c:pt>
                <c:pt idx="93">
                  <c:v>42370</c:v>
                </c:pt>
                <c:pt idx="94">
                  <c:v>42401</c:v>
                </c:pt>
                <c:pt idx="95">
                  <c:v>42430</c:v>
                </c:pt>
                <c:pt idx="96">
                  <c:v>42461</c:v>
                </c:pt>
                <c:pt idx="97">
                  <c:v>42491</c:v>
                </c:pt>
                <c:pt idx="98">
                  <c:v>42522</c:v>
                </c:pt>
                <c:pt idx="99">
                  <c:v>42552</c:v>
                </c:pt>
                <c:pt idx="100">
                  <c:v>42583</c:v>
                </c:pt>
                <c:pt idx="101">
                  <c:v>42614</c:v>
                </c:pt>
                <c:pt idx="102">
                  <c:v>42644</c:v>
                </c:pt>
                <c:pt idx="103">
                  <c:v>42675</c:v>
                </c:pt>
                <c:pt idx="104">
                  <c:v>42705</c:v>
                </c:pt>
                <c:pt idx="105">
                  <c:v>42736</c:v>
                </c:pt>
                <c:pt idx="106">
                  <c:v>42767</c:v>
                </c:pt>
                <c:pt idx="107">
                  <c:v>42795</c:v>
                </c:pt>
                <c:pt idx="108">
                  <c:v>42826</c:v>
                </c:pt>
                <c:pt idx="109">
                  <c:v>42856</c:v>
                </c:pt>
                <c:pt idx="110">
                  <c:v>42887</c:v>
                </c:pt>
                <c:pt idx="111">
                  <c:v>42917</c:v>
                </c:pt>
                <c:pt idx="112">
                  <c:v>42948</c:v>
                </c:pt>
                <c:pt idx="113">
                  <c:v>42979</c:v>
                </c:pt>
                <c:pt idx="114">
                  <c:v>43009</c:v>
                </c:pt>
                <c:pt idx="115">
                  <c:v>43040</c:v>
                </c:pt>
                <c:pt idx="116">
                  <c:v>43070</c:v>
                </c:pt>
                <c:pt idx="117">
                  <c:v>43101</c:v>
                </c:pt>
                <c:pt idx="118">
                  <c:v>43132</c:v>
                </c:pt>
                <c:pt idx="119">
                  <c:v>43160</c:v>
                </c:pt>
                <c:pt idx="120">
                  <c:v>43191</c:v>
                </c:pt>
                <c:pt idx="121">
                  <c:v>43221</c:v>
                </c:pt>
                <c:pt idx="122">
                  <c:v>43252</c:v>
                </c:pt>
                <c:pt idx="123">
                  <c:v>43282</c:v>
                </c:pt>
                <c:pt idx="124">
                  <c:v>43313</c:v>
                </c:pt>
                <c:pt idx="125">
                  <c:v>43344</c:v>
                </c:pt>
                <c:pt idx="126">
                  <c:v>43374</c:v>
                </c:pt>
                <c:pt idx="127">
                  <c:v>43405</c:v>
                </c:pt>
                <c:pt idx="128">
                  <c:v>43435</c:v>
                </c:pt>
                <c:pt idx="129">
                  <c:v>43466</c:v>
                </c:pt>
                <c:pt idx="130">
                  <c:v>43497</c:v>
                </c:pt>
                <c:pt idx="131">
                  <c:v>43525</c:v>
                </c:pt>
                <c:pt idx="132">
                  <c:v>43556</c:v>
                </c:pt>
                <c:pt idx="133">
                  <c:v>43586</c:v>
                </c:pt>
                <c:pt idx="134">
                  <c:v>43617</c:v>
                </c:pt>
                <c:pt idx="135">
                  <c:v>43647</c:v>
                </c:pt>
                <c:pt idx="136">
                  <c:v>43678</c:v>
                </c:pt>
                <c:pt idx="137">
                  <c:v>43709</c:v>
                </c:pt>
                <c:pt idx="138">
                  <c:v>43739</c:v>
                </c:pt>
                <c:pt idx="139">
                  <c:v>43770</c:v>
                </c:pt>
                <c:pt idx="140">
                  <c:v>43800</c:v>
                </c:pt>
                <c:pt idx="141">
                  <c:v>43831</c:v>
                </c:pt>
                <c:pt idx="142">
                  <c:v>43862</c:v>
                </c:pt>
                <c:pt idx="143">
                  <c:v>43891</c:v>
                </c:pt>
                <c:pt idx="144">
                  <c:v>43922</c:v>
                </c:pt>
                <c:pt idx="145">
                  <c:v>43952</c:v>
                </c:pt>
                <c:pt idx="146">
                  <c:v>43983</c:v>
                </c:pt>
                <c:pt idx="147">
                  <c:v>44013</c:v>
                </c:pt>
                <c:pt idx="148">
                  <c:v>44044</c:v>
                </c:pt>
                <c:pt idx="149">
                  <c:v>44075</c:v>
                </c:pt>
                <c:pt idx="150">
                  <c:v>44105</c:v>
                </c:pt>
                <c:pt idx="151">
                  <c:v>44136</c:v>
                </c:pt>
                <c:pt idx="152">
                  <c:v>44166</c:v>
                </c:pt>
                <c:pt idx="153">
                  <c:v>44197</c:v>
                </c:pt>
                <c:pt idx="154">
                  <c:v>44228</c:v>
                </c:pt>
                <c:pt idx="155">
                  <c:v>44256</c:v>
                </c:pt>
                <c:pt idx="156">
                  <c:v>44287</c:v>
                </c:pt>
                <c:pt idx="157">
                  <c:v>44317</c:v>
                </c:pt>
              </c:numCache>
            </c:numRef>
          </c:cat>
          <c:val>
            <c:numRef>
              <c:f>Synthese!$G$5:$G$198</c:f>
              <c:numCache>
                <c:formatCode>General</c:formatCode>
                <c:ptCount val="158"/>
                <c:pt idx="0">
                  <c:v>9</c:v>
                </c:pt>
                <c:pt idx="1">
                  <c:v>7.8</c:v>
                </c:pt>
                <c:pt idx="2">
                  <c:v>7</c:v>
                </c:pt>
                <c:pt idx="3">
                  <c:v>7.5</c:v>
                </c:pt>
                <c:pt idx="4">
                  <c:v>9</c:v>
                </c:pt>
                <c:pt idx="5">
                  <c:v>9</c:v>
                </c:pt>
                <c:pt idx="6">
                  <c:v>8.6</c:v>
                </c:pt>
                <c:pt idx="7">
                  <c:v>9.25</c:v>
                </c:pt>
                <c:pt idx="8">
                  <c:v>9.5</c:v>
                </c:pt>
                <c:pt idx="9">
                  <c:v>9.5</c:v>
                </c:pt>
                <c:pt idx="10">
                  <c:v>9.5</c:v>
                </c:pt>
                <c:pt idx="11">
                  <c:v>9.25</c:v>
                </c:pt>
                <c:pt idx="12">
                  <c:v>8.125</c:v>
                </c:pt>
                <c:pt idx="13">
                  <c:v>7.5</c:v>
                </c:pt>
                <c:pt idx="14">
                  <c:v>7.5</c:v>
                </c:pt>
                <c:pt idx="15">
                  <c:v>7</c:v>
                </c:pt>
                <c:pt idx="16">
                  <c:v>7</c:v>
                </c:pt>
                <c:pt idx="17">
                  <c:v>6.375</c:v>
                </c:pt>
                <c:pt idx="18">
                  <c:v>7.55</c:v>
                </c:pt>
                <c:pt idx="19">
                  <c:v>6.625</c:v>
                </c:pt>
                <c:pt idx="20">
                  <c:v>7.25</c:v>
                </c:pt>
                <c:pt idx="21">
                  <c:v>7.1</c:v>
                </c:pt>
                <c:pt idx="22">
                  <c:v>7.1749999999999998</c:v>
                </c:pt>
                <c:pt idx="23">
                  <c:v>7.3</c:v>
                </c:pt>
                <c:pt idx="24">
                  <c:v>7.45</c:v>
                </c:pt>
                <c:pt idx="25">
                  <c:v>7.25</c:v>
                </c:pt>
                <c:pt idx="26">
                  <c:v>7.45</c:v>
                </c:pt>
                <c:pt idx="27">
                  <c:v>7.45</c:v>
                </c:pt>
                <c:pt idx="28">
                  <c:v>7.75</c:v>
                </c:pt>
                <c:pt idx="29">
                  <c:v>8</c:v>
                </c:pt>
                <c:pt idx="30">
                  <c:v>8</c:v>
                </c:pt>
                <c:pt idx="31">
                  <c:v>8</c:v>
                </c:pt>
                <c:pt idx="32">
                  <c:v>8.1</c:v>
                </c:pt>
                <c:pt idx="33">
                  <c:v>8.5</c:v>
                </c:pt>
                <c:pt idx="34">
                  <c:v>8.6</c:v>
                </c:pt>
                <c:pt idx="35">
                  <c:v>9</c:v>
                </c:pt>
                <c:pt idx="36">
                  <c:v>9.25</c:v>
                </c:pt>
                <c:pt idx="37">
                  <c:v>9.4</c:v>
                </c:pt>
                <c:pt idx="38">
                  <c:v>9.4</c:v>
                </c:pt>
                <c:pt idx="39">
                  <c:v>9.6</c:v>
                </c:pt>
                <c:pt idx="40">
                  <c:v>10</c:v>
                </c:pt>
                <c:pt idx="41">
                  <c:v>10.5</c:v>
                </c:pt>
                <c:pt idx="42">
                  <c:v>10.5</c:v>
                </c:pt>
                <c:pt idx="43">
                  <c:v>11.5</c:v>
                </c:pt>
                <c:pt idx="44">
                  <c:v>11.75</c:v>
                </c:pt>
                <c:pt idx="45">
                  <c:v>11.75</c:v>
                </c:pt>
                <c:pt idx="46">
                  <c:v>12.25</c:v>
                </c:pt>
                <c:pt idx="47">
                  <c:v>12.6</c:v>
                </c:pt>
                <c:pt idx="48">
                  <c:v>12.6</c:v>
                </c:pt>
                <c:pt idx="49">
                  <c:v>12.6</c:v>
                </c:pt>
                <c:pt idx="50">
                  <c:v>12.6</c:v>
                </c:pt>
                <c:pt idx="51">
                  <c:v>12.9</c:v>
                </c:pt>
                <c:pt idx="52" formatCode="0.000">
                  <c:v>12.9</c:v>
                </c:pt>
                <c:pt idx="53" formatCode="0.000">
                  <c:v>12.5</c:v>
                </c:pt>
                <c:pt idx="54" formatCode="0.000">
                  <c:v>11.5</c:v>
                </c:pt>
                <c:pt idx="55" formatCode="0.000">
                  <c:v>11.5</c:v>
                </c:pt>
                <c:pt idx="56" formatCode="0.000">
                  <c:v>11.3</c:v>
                </c:pt>
                <c:pt idx="57" formatCode="0.000">
                  <c:v>11</c:v>
                </c:pt>
                <c:pt idx="58" formatCode="0.000">
                  <c:v>10.9</c:v>
                </c:pt>
                <c:pt idx="59" formatCode="0.000">
                  <c:v>10.9</c:v>
                </c:pt>
                <c:pt idx="60" formatCode="0.000">
                  <c:v>10.9</c:v>
                </c:pt>
                <c:pt idx="61" formatCode="0.000">
                  <c:v>10.9</c:v>
                </c:pt>
                <c:pt idx="62" formatCode="0.000">
                  <c:v>10.9</c:v>
                </c:pt>
                <c:pt idx="63" formatCode="0.000">
                  <c:v>10.75</c:v>
                </c:pt>
                <c:pt idx="64" formatCode="0.000">
                  <c:v>10.75</c:v>
                </c:pt>
                <c:pt idx="65" formatCode="0.000">
                  <c:v>10.75</c:v>
                </c:pt>
                <c:pt idx="66" formatCode="0.000">
                  <c:v>10.75</c:v>
                </c:pt>
                <c:pt idx="67" formatCode="0.000">
                  <c:v>10.75</c:v>
                </c:pt>
                <c:pt idx="68" formatCode="0.000">
                  <c:v>10.75</c:v>
                </c:pt>
                <c:pt idx="69" formatCode="0.000">
                  <c:v>10.75</c:v>
                </c:pt>
                <c:pt idx="70" formatCode="0.000">
                  <c:v>10.375</c:v>
                </c:pt>
                <c:pt idx="71" formatCode="0.000">
                  <c:v>10.125</c:v>
                </c:pt>
                <c:pt idx="72" formatCode="0.000">
                  <c:v>10.125</c:v>
                </c:pt>
                <c:pt idx="73" formatCode="0.000">
                  <c:v>10.125</c:v>
                </c:pt>
                <c:pt idx="74" formatCode="0.000">
                  <c:v>9.9499999999999993</c:v>
                </c:pt>
                <c:pt idx="75" formatCode="0.000">
                  <c:v>9.9499999999999993</c:v>
                </c:pt>
                <c:pt idx="76" formatCode="0.000">
                  <c:v>9.9499999999999993</c:v>
                </c:pt>
                <c:pt idx="77" formatCode="0.000">
                  <c:v>9.85</c:v>
                </c:pt>
                <c:pt idx="78" formatCode="0.000">
                  <c:v>9.85</c:v>
                </c:pt>
                <c:pt idx="79" formatCode="0.000">
                  <c:v>9.85</c:v>
                </c:pt>
                <c:pt idx="80" formatCode="0.000">
                  <c:v>9.85</c:v>
                </c:pt>
                <c:pt idx="81" formatCode="0.000">
                  <c:v>9.85</c:v>
                </c:pt>
                <c:pt idx="82" formatCode="0.000">
                  <c:v>9.5500000000000007</c:v>
                </c:pt>
                <c:pt idx="83" formatCode="0.000">
                  <c:v>9.4</c:v>
                </c:pt>
                <c:pt idx="84" formatCode="0.000">
                  <c:v>9.3000000000000007</c:v>
                </c:pt>
                <c:pt idx="85" formatCode="0.000">
                  <c:v>9.25</c:v>
                </c:pt>
                <c:pt idx="86" formatCode="0.000">
                  <c:v>9.25</c:v>
                </c:pt>
                <c:pt idx="87" formatCode="0.000">
                  <c:v>9.15</c:v>
                </c:pt>
                <c:pt idx="88" formatCode="0.000">
                  <c:v>9.15</c:v>
                </c:pt>
                <c:pt idx="89" formatCode="0.000">
                  <c:v>9.15</c:v>
                </c:pt>
                <c:pt idx="90" formatCode="0.000">
                  <c:v>9.0500000000000007</c:v>
                </c:pt>
                <c:pt idx="91" formatCode="0.000">
                  <c:v>9.0500000000000007</c:v>
                </c:pt>
                <c:pt idx="92" formatCode="0.000">
                  <c:v>9.0500000000000007</c:v>
                </c:pt>
                <c:pt idx="93" formatCode="0.000">
                  <c:v>8.9250000000000007</c:v>
                </c:pt>
                <c:pt idx="94" formatCode="0.000">
                  <c:v>8.8000000000000007</c:v>
                </c:pt>
                <c:pt idx="95" formatCode="0.000">
                  <c:v>8.65</c:v>
                </c:pt>
                <c:pt idx="96" formatCode="0.000">
                  <c:v>8.3249999999999993</c:v>
                </c:pt>
                <c:pt idx="97" formatCode="0.000">
                  <c:v>7.95</c:v>
                </c:pt>
                <c:pt idx="98" formatCode="0.000">
                  <c:v>7.9</c:v>
                </c:pt>
                <c:pt idx="99" formatCode="0.000">
                  <c:v>7.9</c:v>
                </c:pt>
                <c:pt idx="100" formatCode="0.000">
                  <c:v>7.9</c:v>
                </c:pt>
                <c:pt idx="101" formatCode="0.000">
                  <c:v>7.9</c:v>
                </c:pt>
                <c:pt idx="102" formatCode="0.000">
                  <c:v>7.9</c:v>
                </c:pt>
                <c:pt idx="103" formatCode="0.000">
                  <c:v>7.9</c:v>
                </c:pt>
                <c:pt idx="104" formatCode="0.000">
                  <c:v>7.9</c:v>
                </c:pt>
                <c:pt idx="105" formatCode="0.000">
                  <c:v>7.9</c:v>
                </c:pt>
                <c:pt idx="106" formatCode="0.000">
                  <c:v>7.9</c:v>
                </c:pt>
                <c:pt idx="107" formatCode="0.000">
                  <c:v>7.9</c:v>
                </c:pt>
                <c:pt idx="108" formatCode="0.000">
                  <c:v>7.9</c:v>
                </c:pt>
                <c:pt idx="109" formatCode="0.000">
                  <c:v>8.7469000000000001</c:v>
                </c:pt>
                <c:pt idx="110" formatCode="0.000">
                  <c:v>8.5500000000000007</c:v>
                </c:pt>
                <c:pt idx="111" formatCode="0.000">
                  <c:v>8.15</c:v>
                </c:pt>
                <c:pt idx="112" formatCode="0.000">
                  <c:v>8.15</c:v>
                </c:pt>
                <c:pt idx="113" formatCode="0.000">
                  <c:v>8.15</c:v>
                </c:pt>
                <c:pt idx="114" formatCode="0.000">
                  <c:v>8.15</c:v>
                </c:pt>
                <c:pt idx="115" formatCode="0.000">
                  <c:v>8.0068000000000001</c:v>
                </c:pt>
                <c:pt idx="116" formatCode="0.000">
                  <c:v>8</c:v>
                </c:pt>
                <c:pt idx="117" formatCode="0.000">
                  <c:v>8</c:v>
                </c:pt>
                <c:pt idx="118" formatCode="0.000">
                  <c:v>8.1</c:v>
                </c:pt>
                <c:pt idx="119" formatCode="0.000">
                  <c:v>8.625</c:v>
                </c:pt>
                <c:pt idx="120" formatCode="0.000">
                  <c:v>8.625</c:v>
                </c:pt>
                <c:pt idx="121" formatCode="0.000">
                  <c:v>8.5</c:v>
                </c:pt>
                <c:pt idx="122" formatCode="0.000">
                  <c:v>8.5</c:v>
                </c:pt>
                <c:pt idx="123" formatCode="0.000">
                  <c:v>8.4885999999999999</c:v>
                </c:pt>
                <c:pt idx="124" formatCode="0.000">
                  <c:v>8.25</c:v>
                </c:pt>
                <c:pt idx="125" formatCode="0.000">
                  <c:v>8.25</c:v>
                </c:pt>
                <c:pt idx="126" formatCode="0.000">
                  <c:v>8.25</c:v>
                </c:pt>
                <c:pt idx="127" formatCode="0.000">
                  <c:v>8.25</c:v>
                </c:pt>
                <c:pt idx="128" formatCode="0.000">
                  <c:v>8.2341999999999995</c:v>
                </c:pt>
                <c:pt idx="129" formatCode="0.000">
                  <c:v>8.15</c:v>
                </c:pt>
                <c:pt idx="130" formatCode="0.000">
                  <c:v>8.15</c:v>
                </c:pt>
                <c:pt idx="131" formatCode="0.000">
                  <c:v>8.15</c:v>
                </c:pt>
                <c:pt idx="132" formatCode="0.000">
                  <c:v>8.2688000000000006</c:v>
                </c:pt>
                <c:pt idx="133" formatCode="0.000">
                  <c:v>8.35</c:v>
                </c:pt>
                <c:pt idx="134" formatCode="0.000">
                  <c:v>8.35</c:v>
                </c:pt>
                <c:pt idx="135" formatCode="0.000">
                  <c:v>8.4457000000000004</c:v>
                </c:pt>
                <c:pt idx="136" formatCode="0.000">
                  <c:v>8.4499999999999993</c:v>
                </c:pt>
                <c:pt idx="137" formatCode="0.000">
                  <c:v>8.5213999999999999</c:v>
                </c:pt>
                <c:pt idx="138" formatCode="0.000">
                  <c:v>8.9499999999999993</c:v>
                </c:pt>
                <c:pt idx="139" formatCode="0.000">
                  <c:v>8.9499999999999993</c:v>
                </c:pt>
                <c:pt idx="140" formatCode="0.000">
                  <c:v>8.9499999999999993</c:v>
                </c:pt>
                <c:pt idx="141" formatCode="0.000">
                  <c:v>8.9499999999999993</c:v>
                </c:pt>
                <c:pt idx="142" formatCode="0.000">
                  <c:v>8.9499999999999993</c:v>
                </c:pt>
                <c:pt idx="143" formatCode="0.000">
                  <c:v>8.8522999999999996</c:v>
                </c:pt>
                <c:pt idx="144" formatCode="0.000">
                  <c:v>8.8000000000000007</c:v>
                </c:pt>
                <c:pt idx="145" formatCode="0.000">
                  <c:v>8.7316000000000003</c:v>
                </c:pt>
                <c:pt idx="146" formatCode="0.000">
                  <c:v>8.15</c:v>
                </c:pt>
                <c:pt idx="147" formatCode="0.000">
                  <c:v>7.1935000000000002</c:v>
                </c:pt>
                <c:pt idx="148" formatCode="0.000">
                  <c:v>7.15</c:v>
                </c:pt>
                <c:pt idx="149" formatCode="0.000">
                  <c:v>7.15</c:v>
                </c:pt>
                <c:pt idx="150" formatCode="0.000">
                  <c:v>7.15</c:v>
                </c:pt>
                <c:pt idx="151" formatCode="0.000">
                  <c:v>7.15</c:v>
                </c:pt>
                <c:pt idx="152" formatCode="0.000">
                  <c:v>7.7</c:v>
                </c:pt>
                <c:pt idx="153" formatCode="0.000">
                  <c:v>7.7</c:v>
                </c:pt>
                <c:pt idx="154" formatCode="0.000">
                  <c:v>7.7</c:v>
                </c:pt>
                <c:pt idx="155" formatCode="0.000">
                  <c:v>7.7</c:v>
                </c:pt>
                <c:pt idx="156" formatCode="0.000">
                  <c:v>7.7</c:v>
                </c:pt>
                <c:pt idx="157" formatCode="0.000">
                  <c:v>7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73B-4C82-94E3-622C968FEE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9449728"/>
        <c:axId val="169464192"/>
      </c:lineChart>
      <c:dateAx>
        <c:axId val="169449728"/>
        <c:scaling>
          <c:orientation val="minMax"/>
        </c:scaling>
        <c:delete val="0"/>
        <c:axPos val="b"/>
        <c:numFmt formatCode="[$-409]mmm\-yy;@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fr-FR"/>
          </a:p>
        </c:txPr>
        <c:crossAx val="169464192"/>
        <c:crosses val="autoZero"/>
        <c:auto val="1"/>
        <c:lblOffset val="100"/>
        <c:baseTimeUnit val="months"/>
      </c:dateAx>
      <c:valAx>
        <c:axId val="169464192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$/kg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fr-FR"/>
          </a:p>
        </c:txPr>
        <c:crossAx val="169449728"/>
        <c:crosses val="autoZero"/>
        <c:crossBetween val="between"/>
        <c:majorUnit val="5"/>
      </c:valAx>
      <c:spPr>
        <a:blipFill dpi="0" rotWithShape="1">
          <a:blip xmlns:r="http://schemas.openxmlformats.org/officeDocument/2006/relationships" r:embed="rId2">
            <a:alphaModFix amt="50000"/>
          </a:blip>
          <a:srcRect/>
          <a:stretch>
            <a:fillRect/>
          </a:stretch>
        </a:blipFill>
      </c:spPr>
    </c:plotArea>
    <c:plotVisOnly val="1"/>
    <c:dispBlanksAs val="gap"/>
    <c:showDLblsOverMax val="0"/>
  </c:chart>
  <c:spPr>
    <a:solidFill>
      <a:sysClr val="window" lastClr="FFFFFF"/>
    </a:solidFill>
  </c:sp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100"/>
            </a:pPr>
            <a:r>
              <a:rPr lang="en-US" sz="1100" dirty="0" err="1"/>
              <a:t>Ti</a:t>
            </a:r>
            <a:r>
              <a:rPr lang="en-US" sz="1100" dirty="0"/>
              <a:t> 6-4 prices (Aerospace quality)</a:t>
            </a:r>
          </a:p>
        </c:rich>
      </c:tx>
      <c:layout>
        <c:manualLayout>
          <c:xMode val="edge"/>
          <c:yMode val="edge"/>
          <c:x val="0.39717595294909552"/>
          <c:y val="9.722632072405897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1547424425507494"/>
          <c:y val="0.22804340834097706"/>
          <c:w val="0.65151949286178745"/>
          <c:h val="0.59115648365436924"/>
        </c:manualLayout>
      </c:layout>
      <c:lineChart>
        <c:grouping val="standard"/>
        <c:varyColors val="0"/>
        <c:ser>
          <c:idx val="0"/>
          <c:order val="0"/>
          <c:tx>
            <c:strRef>
              <c:f>Synthese!$B$4</c:f>
              <c:strCache>
                <c:ptCount val="1"/>
                <c:pt idx="0">
                  <c:v>Ingot Ti6-4</c:v>
                </c:pt>
              </c:strCache>
            </c:strRef>
          </c:tx>
          <c:spPr>
            <a:ln>
              <a:solidFill>
                <a:srgbClr val="515793"/>
              </a:solidFill>
            </a:ln>
          </c:spPr>
          <c:marker>
            <c:symbol val="none"/>
          </c:marker>
          <c:cat>
            <c:numRef>
              <c:f>Synthese!$A$5:$A$198</c:f>
              <c:numCache>
                <c:formatCode>[$-409]mmm\-yy;@</c:formatCode>
                <c:ptCount val="158"/>
                <c:pt idx="0">
                  <c:v>39539</c:v>
                </c:pt>
                <c:pt idx="1">
                  <c:v>39569</c:v>
                </c:pt>
                <c:pt idx="2">
                  <c:v>39600</c:v>
                </c:pt>
                <c:pt idx="3">
                  <c:v>39630</c:v>
                </c:pt>
                <c:pt idx="4">
                  <c:v>39661</c:v>
                </c:pt>
                <c:pt idx="5">
                  <c:v>39692</c:v>
                </c:pt>
                <c:pt idx="6">
                  <c:v>39722</c:v>
                </c:pt>
                <c:pt idx="7">
                  <c:v>39753</c:v>
                </c:pt>
                <c:pt idx="8">
                  <c:v>39783</c:v>
                </c:pt>
                <c:pt idx="9">
                  <c:v>39814</c:v>
                </c:pt>
                <c:pt idx="10">
                  <c:v>39845</c:v>
                </c:pt>
                <c:pt idx="11">
                  <c:v>39873</c:v>
                </c:pt>
                <c:pt idx="12">
                  <c:v>39904</c:v>
                </c:pt>
                <c:pt idx="13">
                  <c:v>39934</c:v>
                </c:pt>
                <c:pt idx="14">
                  <c:v>39965</c:v>
                </c:pt>
                <c:pt idx="15">
                  <c:v>39995</c:v>
                </c:pt>
                <c:pt idx="16">
                  <c:v>40026</c:v>
                </c:pt>
                <c:pt idx="17">
                  <c:v>40057</c:v>
                </c:pt>
                <c:pt idx="18">
                  <c:v>40087</c:v>
                </c:pt>
                <c:pt idx="19">
                  <c:v>40118</c:v>
                </c:pt>
                <c:pt idx="20">
                  <c:v>40148</c:v>
                </c:pt>
                <c:pt idx="21">
                  <c:v>40179</c:v>
                </c:pt>
                <c:pt idx="22">
                  <c:v>40210</c:v>
                </c:pt>
                <c:pt idx="23">
                  <c:v>40238</c:v>
                </c:pt>
                <c:pt idx="24">
                  <c:v>40269</c:v>
                </c:pt>
                <c:pt idx="25">
                  <c:v>40299</c:v>
                </c:pt>
                <c:pt idx="26">
                  <c:v>40330</c:v>
                </c:pt>
                <c:pt idx="27">
                  <c:v>40360</c:v>
                </c:pt>
                <c:pt idx="28">
                  <c:v>40391</c:v>
                </c:pt>
                <c:pt idx="29">
                  <c:v>40422</c:v>
                </c:pt>
                <c:pt idx="30">
                  <c:v>40452</c:v>
                </c:pt>
                <c:pt idx="31">
                  <c:v>40483</c:v>
                </c:pt>
                <c:pt idx="32">
                  <c:v>40513</c:v>
                </c:pt>
                <c:pt idx="33">
                  <c:v>40544</c:v>
                </c:pt>
                <c:pt idx="34">
                  <c:v>40575</c:v>
                </c:pt>
                <c:pt idx="35">
                  <c:v>40603</c:v>
                </c:pt>
                <c:pt idx="36">
                  <c:v>40634</c:v>
                </c:pt>
                <c:pt idx="37">
                  <c:v>40664</c:v>
                </c:pt>
                <c:pt idx="38">
                  <c:v>40695</c:v>
                </c:pt>
                <c:pt idx="39">
                  <c:v>40725</c:v>
                </c:pt>
                <c:pt idx="40">
                  <c:v>40756</c:v>
                </c:pt>
                <c:pt idx="41">
                  <c:v>40787</c:v>
                </c:pt>
                <c:pt idx="42">
                  <c:v>40817</c:v>
                </c:pt>
                <c:pt idx="43">
                  <c:v>40848</c:v>
                </c:pt>
                <c:pt idx="44">
                  <c:v>40878</c:v>
                </c:pt>
                <c:pt idx="45">
                  <c:v>40909</c:v>
                </c:pt>
                <c:pt idx="46">
                  <c:v>40940</c:v>
                </c:pt>
                <c:pt idx="47">
                  <c:v>40969</c:v>
                </c:pt>
                <c:pt idx="48">
                  <c:v>41000</c:v>
                </c:pt>
                <c:pt idx="49">
                  <c:v>41030</c:v>
                </c:pt>
                <c:pt idx="50">
                  <c:v>41061</c:v>
                </c:pt>
                <c:pt idx="51">
                  <c:v>41091</c:v>
                </c:pt>
                <c:pt idx="52">
                  <c:v>41122</c:v>
                </c:pt>
                <c:pt idx="53">
                  <c:v>41153</c:v>
                </c:pt>
                <c:pt idx="54">
                  <c:v>41183</c:v>
                </c:pt>
                <c:pt idx="55">
                  <c:v>41214</c:v>
                </c:pt>
                <c:pt idx="56">
                  <c:v>41244</c:v>
                </c:pt>
                <c:pt idx="57">
                  <c:v>41275</c:v>
                </c:pt>
                <c:pt idx="58">
                  <c:v>41306</c:v>
                </c:pt>
                <c:pt idx="59">
                  <c:v>41334</c:v>
                </c:pt>
                <c:pt idx="60">
                  <c:v>41365</c:v>
                </c:pt>
                <c:pt idx="61">
                  <c:v>41395</c:v>
                </c:pt>
                <c:pt idx="62">
                  <c:v>41426</c:v>
                </c:pt>
                <c:pt idx="63">
                  <c:v>41456</c:v>
                </c:pt>
                <c:pt idx="64">
                  <c:v>41487</c:v>
                </c:pt>
                <c:pt idx="65">
                  <c:v>41518</c:v>
                </c:pt>
                <c:pt idx="66">
                  <c:v>41548</c:v>
                </c:pt>
                <c:pt idx="67">
                  <c:v>41579</c:v>
                </c:pt>
                <c:pt idx="68">
                  <c:v>41609</c:v>
                </c:pt>
                <c:pt idx="69">
                  <c:v>41640</c:v>
                </c:pt>
                <c:pt idx="70">
                  <c:v>41671</c:v>
                </c:pt>
                <c:pt idx="71">
                  <c:v>41699</c:v>
                </c:pt>
                <c:pt idx="72">
                  <c:v>41730</c:v>
                </c:pt>
                <c:pt idx="73">
                  <c:v>41760</c:v>
                </c:pt>
                <c:pt idx="74">
                  <c:v>41791</c:v>
                </c:pt>
                <c:pt idx="75">
                  <c:v>41821</c:v>
                </c:pt>
                <c:pt idx="76">
                  <c:v>41852</c:v>
                </c:pt>
                <c:pt idx="77">
                  <c:v>41883</c:v>
                </c:pt>
                <c:pt idx="78">
                  <c:v>41913</c:v>
                </c:pt>
                <c:pt idx="79">
                  <c:v>41944</c:v>
                </c:pt>
                <c:pt idx="80">
                  <c:v>41974</c:v>
                </c:pt>
                <c:pt idx="81">
                  <c:v>42005</c:v>
                </c:pt>
                <c:pt idx="82">
                  <c:v>42036</c:v>
                </c:pt>
                <c:pt idx="83">
                  <c:v>42064</c:v>
                </c:pt>
                <c:pt idx="84">
                  <c:v>42095</c:v>
                </c:pt>
                <c:pt idx="85">
                  <c:v>42125</c:v>
                </c:pt>
                <c:pt idx="86">
                  <c:v>42156</c:v>
                </c:pt>
                <c:pt idx="87">
                  <c:v>42186</c:v>
                </c:pt>
                <c:pt idx="88">
                  <c:v>42217</c:v>
                </c:pt>
                <c:pt idx="89">
                  <c:v>42248</c:v>
                </c:pt>
                <c:pt idx="90">
                  <c:v>42278</c:v>
                </c:pt>
                <c:pt idx="91">
                  <c:v>42309</c:v>
                </c:pt>
                <c:pt idx="92">
                  <c:v>42339</c:v>
                </c:pt>
                <c:pt idx="93">
                  <c:v>42370</c:v>
                </c:pt>
                <c:pt idx="94">
                  <c:v>42401</c:v>
                </c:pt>
                <c:pt idx="95">
                  <c:v>42430</c:v>
                </c:pt>
                <c:pt idx="96">
                  <c:v>42461</c:v>
                </c:pt>
                <c:pt idx="97">
                  <c:v>42491</c:v>
                </c:pt>
                <c:pt idx="98">
                  <c:v>42522</c:v>
                </c:pt>
                <c:pt idx="99">
                  <c:v>42552</c:v>
                </c:pt>
                <c:pt idx="100">
                  <c:v>42583</c:v>
                </c:pt>
                <c:pt idx="101">
                  <c:v>42614</c:v>
                </c:pt>
                <c:pt idx="102">
                  <c:v>42644</c:v>
                </c:pt>
                <c:pt idx="103">
                  <c:v>42675</c:v>
                </c:pt>
                <c:pt idx="104">
                  <c:v>42705</c:v>
                </c:pt>
                <c:pt idx="105">
                  <c:v>42736</c:v>
                </c:pt>
                <c:pt idx="106">
                  <c:v>42767</c:v>
                </c:pt>
                <c:pt idx="107">
                  <c:v>42795</c:v>
                </c:pt>
                <c:pt idx="108">
                  <c:v>42826</c:v>
                </c:pt>
                <c:pt idx="109">
                  <c:v>42856</c:v>
                </c:pt>
                <c:pt idx="110">
                  <c:v>42887</c:v>
                </c:pt>
                <c:pt idx="111">
                  <c:v>42917</c:v>
                </c:pt>
                <c:pt idx="112">
                  <c:v>42948</c:v>
                </c:pt>
                <c:pt idx="113">
                  <c:v>42979</c:v>
                </c:pt>
                <c:pt idx="114">
                  <c:v>43009</c:v>
                </c:pt>
                <c:pt idx="115">
                  <c:v>43040</c:v>
                </c:pt>
                <c:pt idx="116">
                  <c:v>43070</c:v>
                </c:pt>
                <c:pt idx="117">
                  <c:v>43101</c:v>
                </c:pt>
                <c:pt idx="118">
                  <c:v>43132</c:v>
                </c:pt>
                <c:pt idx="119">
                  <c:v>43160</c:v>
                </c:pt>
                <c:pt idx="120">
                  <c:v>43191</c:v>
                </c:pt>
                <c:pt idx="121">
                  <c:v>43221</c:v>
                </c:pt>
                <c:pt idx="122">
                  <c:v>43252</c:v>
                </c:pt>
                <c:pt idx="123">
                  <c:v>43282</c:v>
                </c:pt>
                <c:pt idx="124">
                  <c:v>43313</c:v>
                </c:pt>
                <c:pt idx="125">
                  <c:v>43344</c:v>
                </c:pt>
                <c:pt idx="126">
                  <c:v>43374</c:v>
                </c:pt>
                <c:pt idx="127">
                  <c:v>43405</c:v>
                </c:pt>
                <c:pt idx="128">
                  <c:v>43435</c:v>
                </c:pt>
                <c:pt idx="129">
                  <c:v>43466</c:v>
                </c:pt>
                <c:pt idx="130">
                  <c:v>43497</c:v>
                </c:pt>
                <c:pt idx="131">
                  <c:v>43525</c:v>
                </c:pt>
                <c:pt idx="132">
                  <c:v>43556</c:v>
                </c:pt>
                <c:pt idx="133">
                  <c:v>43586</c:v>
                </c:pt>
                <c:pt idx="134">
                  <c:v>43617</c:v>
                </c:pt>
                <c:pt idx="135">
                  <c:v>43647</c:v>
                </c:pt>
                <c:pt idx="136">
                  <c:v>43678</c:v>
                </c:pt>
                <c:pt idx="137">
                  <c:v>43709</c:v>
                </c:pt>
                <c:pt idx="138">
                  <c:v>43739</c:v>
                </c:pt>
                <c:pt idx="139">
                  <c:v>43770</c:v>
                </c:pt>
                <c:pt idx="140">
                  <c:v>43800</c:v>
                </c:pt>
                <c:pt idx="141">
                  <c:v>43831</c:v>
                </c:pt>
                <c:pt idx="142">
                  <c:v>43862</c:v>
                </c:pt>
                <c:pt idx="143">
                  <c:v>43891</c:v>
                </c:pt>
                <c:pt idx="144">
                  <c:v>43922</c:v>
                </c:pt>
                <c:pt idx="145">
                  <c:v>43952</c:v>
                </c:pt>
                <c:pt idx="146">
                  <c:v>43983</c:v>
                </c:pt>
                <c:pt idx="147">
                  <c:v>44013</c:v>
                </c:pt>
                <c:pt idx="148">
                  <c:v>44044</c:v>
                </c:pt>
                <c:pt idx="149">
                  <c:v>44075</c:v>
                </c:pt>
                <c:pt idx="150">
                  <c:v>44105</c:v>
                </c:pt>
                <c:pt idx="151">
                  <c:v>44136</c:v>
                </c:pt>
                <c:pt idx="152">
                  <c:v>44166</c:v>
                </c:pt>
                <c:pt idx="153">
                  <c:v>44197</c:v>
                </c:pt>
                <c:pt idx="154">
                  <c:v>44228</c:v>
                </c:pt>
                <c:pt idx="155">
                  <c:v>44256</c:v>
                </c:pt>
                <c:pt idx="156">
                  <c:v>44287</c:v>
                </c:pt>
                <c:pt idx="157">
                  <c:v>44317</c:v>
                </c:pt>
              </c:numCache>
            </c:numRef>
          </c:cat>
          <c:val>
            <c:numRef>
              <c:f>Synthese!$B$5:$B$198</c:f>
              <c:numCache>
                <c:formatCode>General</c:formatCode>
                <c:ptCount val="158"/>
                <c:pt idx="0">
                  <c:v>38.856999999999999</c:v>
                </c:pt>
                <c:pt idx="1">
                  <c:v>37.271999999999998</c:v>
                </c:pt>
                <c:pt idx="2">
                  <c:v>36.375999999999998</c:v>
                </c:pt>
                <c:pt idx="3">
                  <c:v>36.375999999999998</c:v>
                </c:pt>
                <c:pt idx="4">
                  <c:v>34.033999999999999</c:v>
                </c:pt>
                <c:pt idx="5">
                  <c:v>32.243000000000002</c:v>
                </c:pt>
                <c:pt idx="6">
                  <c:v>30.864999999999998</c:v>
                </c:pt>
                <c:pt idx="7">
                  <c:v>30.864999999999998</c:v>
                </c:pt>
                <c:pt idx="8">
                  <c:v>30.314</c:v>
                </c:pt>
                <c:pt idx="9">
                  <c:v>30.314</c:v>
                </c:pt>
                <c:pt idx="10">
                  <c:v>28.66</c:v>
                </c:pt>
                <c:pt idx="11">
                  <c:v>26.731000000000002</c:v>
                </c:pt>
                <c:pt idx="12">
                  <c:v>23.7</c:v>
                </c:pt>
                <c:pt idx="13">
                  <c:v>23.241</c:v>
                </c:pt>
                <c:pt idx="14">
                  <c:v>21.459</c:v>
                </c:pt>
                <c:pt idx="15">
                  <c:v>20.393000000000001</c:v>
                </c:pt>
                <c:pt idx="16">
                  <c:v>19.98</c:v>
                </c:pt>
                <c:pt idx="17">
                  <c:v>18.739000000000001</c:v>
                </c:pt>
                <c:pt idx="18">
                  <c:v>18.821999999999999</c:v>
                </c:pt>
                <c:pt idx="19">
                  <c:v>18.657</c:v>
                </c:pt>
                <c:pt idx="20">
                  <c:v>18.684000000000001</c:v>
                </c:pt>
                <c:pt idx="21">
                  <c:v>18.739000000000001</c:v>
                </c:pt>
                <c:pt idx="22">
                  <c:v>19.318000000000001</c:v>
                </c:pt>
                <c:pt idx="23">
                  <c:v>19.978999999999999</c:v>
                </c:pt>
                <c:pt idx="24">
                  <c:v>20.393000000000001</c:v>
                </c:pt>
                <c:pt idx="25">
                  <c:v>21.771000000000001</c:v>
                </c:pt>
                <c:pt idx="26">
                  <c:v>22.321999999999999</c:v>
                </c:pt>
                <c:pt idx="27">
                  <c:v>23.423999999999999</c:v>
                </c:pt>
                <c:pt idx="28">
                  <c:v>23.423999999999999</c:v>
                </c:pt>
                <c:pt idx="29">
                  <c:v>24.251000000000001</c:v>
                </c:pt>
                <c:pt idx="30">
                  <c:v>24.527000000000001</c:v>
                </c:pt>
                <c:pt idx="31">
                  <c:v>25.353000000000002</c:v>
                </c:pt>
                <c:pt idx="32">
                  <c:v>26.18</c:v>
                </c:pt>
                <c:pt idx="33">
                  <c:v>26.456</c:v>
                </c:pt>
                <c:pt idx="34">
                  <c:v>26.594000000000001</c:v>
                </c:pt>
                <c:pt idx="35">
                  <c:v>26.731000000000002</c:v>
                </c:pt>
                <c:pt idx="36">
                  <c:v>26.731000000000002</c:v>
                </c:pt>
                <c:pt idx="37">
                  <c:v>27.283000000000001</c:v>
                </c:pt>
                <c:pt idx="38">
                  <c:v>27.283000000000001</c:v>
                </c:pt>
                <c:pt idx="39">
                  <c:v>27.283000000000001</c:v>
                </c:pt>
                <c:pt idx="40">
                  <c:v>27.283000000000001</c:v>
                </c:pt>
                <c:pt idx="41">
                  <c:v>27.779</c:v>
                </c:pt>
                <c:pt idx="42">
                  <c:v>27.834</c:v>
                </c:pt>
                <c:pt idx="43">
                  <c:v>27.834</c:v>
                </c:pt>
                <c:pt idx="44">
                  <c:v>27.834</c:v>
                </c:pt>
                <c:pt idx="45">
                  <c:v>26.456</c:v>
                </c:pt>
                <c:pt idx="46">
                  <c:v>25.904</c:v>
                </c:pt>
                <c:pt idx="47">
                  <c:v>25.904</c:v>
                </c:pt>
                <c:pt idx="48">
                  <c:v>25.076000000000001</c:v>
                </c:pt>
                <c:pt idx="49">
                  <c:v>25.0776</c:v>
                </c:pt>
                <c:pt idx="50">
                  <c:v>24.802</c:v>
                </c:pt>
                <c:pt idx="51">
                  <c:v>24.802</c:v>
                </c:pt>
                <c:pt idx="52" formatCode="0.000">
                  <c:v>23.6997</c:v>
                </c:pt>
                <c:pt idx="53" formatCode="0.000">
                  <c:v>23.424099999999999</c:v>
                </c:pt>
                <c:pt idx="54" formatCode="0.000">
                  <c:v>23.424099999999999</c:v>
                </c:pt>
                <c:pt idx="55" formatCode="0.000">
                  <c:v>23.424099999999999</c:v>
                </c:pt>
                <c:pt idx="56" formatCode="0.000">
                  <c:v>23.369</c:v>
                </c:pt>
                <c:pt idx="57" formatCode="0.000">
                  <c:v>22.872900000000001</c:v>
                </c:pt>
                <c:pt idx="58" formatCode="0.000">
                  <c:v>22.872900000000001</c:v>
                </c:pt>
                <c:pt idx="59" formatCode="0.000">
                  <c:v>22.5974</c:v>
                </c:pt>
                <c:pt idx="60" formatCode="0.000">
                  <c:v>22.5974</c:v>
                </c:pt>
                <c:pt idx="61" formatCode="0.000">
                  <c:v>22.5974</c:v>
                </c:pt>
                <c:pt idx="62" formatCode="0.000">
                  <c:v>22.3218</c:v>
                </c:pt>
                <c:pt idx="63" formatCode="0.000">
                  <c:v>21.770600000000002</c:v>
                </c:pt>
                <c:pt idx="64" formatCode="0.000">
                  <c:v>21.109200000000001</c:v>
                </c:pt>
                <c:pt idx="65" formatCode="0.000">
                  <c:v>20.8888</c:v>
                </c:pt>
                <c:pt idx="66" formatCode="0.000">
                  <c:v>20.5305</c:v>
                </c:pt>
                <c:pt idx="67" formatCode="0.000">
                  <c:v>20.337599999999998</c:v>
                </c:pt>
                <c:pt idx="68" formatCode="0.000">
                  <c:v>19.676200000000001</c:v>
                </c:pt>
                <c:pt idx="69" formatCode="0.000">
                  <c:v>19.180199999999999</c:v>
                </c:pt>
                <c:pt idx="70" formatCode="0.000">
                  <c:v>19.07</c:v>
                </c:pt>
                <c:pt idx="71" formatCode="0.000">
                  <c:v>18.188099999999999</c:v>
                </c:pt>
                <c:pt idx="72" formatCode="0.000">
                  <c:v>18.187999999999999</c:v>
                </c:pt>
                <c:pt idx="73" formatCode="0.000">
                  <c:v>18.684000000000001</c:v>
                </c:pt>
                <c:pt idx="74" formatCode="0.000">
                  <c:v>18.463000000000001</c:v>
                </c:pt>
                <c:pt idx="75" formatCode="0.000">
                  <c:v>19.014847499999998</c:v>
                </c:pt>
                <c:pt idx="76" formatCode="0.000">
                  <c:v>19.014847499999998</c:v>
                </c:pt>
                <c:pt idx="77" formatCode="0.000">
                  <c:v>19.014847499999998</c:v>
                </c:pt>
                <c:pt idx="78" formatCode="0.000">
                  <c:v>19.014847499999998</c:v>
                </c:pt>
                <c:pt idx="79" formatCode="0.000">
                  <c:v>19.014847499999998</c:v>
                </c:pt>
                <c:pt idx="80" formatCode="0.000">
                  <c:v>19.014847499999998</c:v>
                </c:pt>
                <c:pt idx="81" formatCode="0.000">
                  <c:v>19.014847499999998</c:v>
                </c:pt>
                <c:pt idx="82" formatCode="0.000">
                  <c:v>19.014847499999998</c:v>
                </c:pt>
                <c:pt idx="83" formatCode="0.000">
                  <c:v>19.014847499999998</c:v>
                </c:pt>
                <c:pt idx="84" formatCode="0.000">
                  <c:v>19.014847499999998</c:v>
                </c:pt>
                <c:pt idx="85" formatCode="0.000">
                  <c:v>19.014847499999998</c:v>
                </c:pt>
                <c:pt idx="86" formatCode="0.000">
                  <c:v>19.014847499999998</c:v>
                </c:pt>
                <c:pt idx="87" formatCode="0.000">
                  <c:v>19.014847499999998</c:v>
                </c:pt>
                <c:pt idx="88" formatCode="0.000">
                  <c:v>18.7393</c:v>
                </c:pt>
                <c:pt idx="89" formatCode="0.000">
                  <c:v>18.7393</c:v>
                </c:pt>
                <c:pt idx="90" formatCode="0.000">
                  <c:v>18.7393</c:v>
                </c:pt>
                <c:pt idx="91" formatCode="0.000">
                  <c:v>18.7393</c:v>
                </c:pt>
                <c:pt idx="92" formatCode="0.000">
                  <c:v>18.188099999999999</c:v>
                </c:pt>
                <c:pt idx="93" formatCode="0.000">
                  <c:v>18.188099999999999</c:v>
                </c:pt>
                <c:pt idx="94" formatCode="0.000">
                  <c:v>18.188099999999999</c:v>
                </c:pt>
                <c:pt idx="95" formatCode="0.000">
                  <c:v>18.188099999999999</c:v>
                </c:pt>
                <c:pt idx="96" formatCode="0.000">
                  <c:v>17.911999999999999</c:v>
                </c:pt>
                <c:pt idx="97" formatCode="0.000">
                  <c:v>17.912500000000001</c:v>
                </c:pt>
                <c:pt idx="98" formatCode="0.000">
                  <c:v>17.913</c:v>
                </c:pt>
                <c:pt idx="99" formatCode="0.000">
                  <c:v>17.912500000000001</c:v>
                </c:pt>
                <c:pt idx="100" formatCode="0.000">
                  <c:v>17.3614</c:v>
                </c:pt>
                <c:pt idx="101" formatCode="0.000">
                  <c:v>17.3614</c:v>
                </c:pt>
                <c:pt idx="102" formatCode="0.000">
                  <c:v>17.085799999999999</c:v>
                </c:pt>
                <c:pt idx="103" formatCode="0.000">
                  <c:v>17.085799999999999</c:v>
                </c:pt>
                <c:pt idx="104" formatCode="0.000">
                  <c:v>17.637</c:v>
                </c:pt>
                <c:pt idx="105" formatCode="0.000">
                  <c:v>18.188099999999999</c:v>
                </c:pt>
                <c:pt idx="106" formatCode="0.000">
                  <c:v>18.463999999999999</c:v>
                </c:pt>
                <c:pt idx="107" formatCode="0.000">
                  <c:v>18.463999999999999</c:v>
                </c:pt>
                <c:pt idx="108" formatCode="0.000">
                  <c:v>18.463999999999999</c:v>
                </c:pt>
                <c:pt idx="109" formatCode="0.000">
                  <c:v>18.463699999999999</c:v>
                </c:pt>
                <c:pt idx="110" formatCode="0.000">
                  <c:v>18.0779</c:v>
                </c:pt>
                <c:pt idx="111" formatCode="0.000">
                  <c:v>18.0779</c:v>
                </c:pt>
                <c:pt idx="112" formatCode="0.000">
                  <c:v>17.912500000000001</c:v>
                </c:pt>
                <c:pt idx="113" formatCode="0.000">
                  <c:v>17.912500000000001</c:v>
                </c:pt>
                <c:pt idx="114" formatCode="0.000">
                  <c:v>17.912500000000001</c:v>
                </c:pt>
                <c:pt idx="115" formatCode="0.000">
                  <c:v>17.912500000000001</c:v>
                </c:pt>
                <c:pt idx="116" formatCode="0.000">
                  <c:v>17.912500000000001</c:v>
                </c:pt>
                <c:pt idx="117" formatCode="0.000">
                  <c:v>17.912500000000001</c:v>
                </c:pt>
                <c:pt idx="118" formatCode="0.000">
                  <c:v>19.912500000000001</c:v>
                </c:pt>
                <c:pt idx="119" formatCode="0.000">
                  <c:v>18.684200000000001</c:v>
                </c:pt>
                <c:pt idx="120" formatCode="0.000">
                  <c:v>18.573899999999998</c:v>
                </c:pt>
                <c:pt idx="121" formatCode="0.000">
                  <c:v>18.904599999999999</c:v>
                </c:pt>
                <c:pt idx="122" formatCode="0.000">
                  <c:v>18.905000000000001</c:v>
                </c:pt>
                <c:pt idx="123" formatCode="0.000">
                  <c:v>19.234999999999999</c:v>
                </c:pt>
                <c:pt idx="124" formatCode="0.000">
                  <c:v>19.234999999999999</c:v>
                </c:pt>
                <c:pt idx="125" formatCode="0.000">
                  <c:v>19.234999999999999</c:v>
                </c:pt>
                <c:pt idx="126" formatCode="0.000">
                  <c:v>19.400700000000001</c:v>
                </c:pt>
                <c:pt idx="127" formatCode="0.000">
                  <c:v>19.400700000000001</c:v>
                </c:pt>
                <c:pt idx="128" formatCode="0.000">
                  <c:v>19.400700000000001</c:v>
                </c:pt>
                <c:pt idx="129" formatCode="0.000">
                  <c:v>19.400700000000001</c:v>
                </c:pt>
                <c:pt idx="130" formatCode="0.000">
                  <c:v>20.8337</c:v>
                </c:pt>
                <c:pt idx="131" formatCode="0.000">
                  <c:v>21.054099999999998</c:v>
                </c:pt>
                <c:pt idx="132" formatCode="0.000">
                  <c:v>21.715499999999999</c:v>
                </c:pt>
                <c:pt idx="133" formatCode="0.000">
                  <c:v>22.3218</c:v>
                </c:pt>
                <c:pt idx="134" formatCode="0.000">
                  <c:v>22.3218</c:v>
                </c:pt>
                <c:pt idx="135" formatCode="0.000">
                  <c:v>22.3218</c:v>
                </c:pt>
                <c:pt idx="136" formatCode="0.000">
                  <c:v>22.3218</c:v>
                </c:pt>
                <c:pt idx="137" formatCode="0.000">
                  <c:v>22.762699999999999</c:v>
                </c:pt>
                <c:pt idx="138" formatCode="0.000">
                  <c:v>22.762699999999999</c:v>
                </c:pt>
                <c:pt idx="139" formatCode="0.000">
                  <c:v>22.6525</c:v>
                </c:pt>
                <c:pt idx="140" formatCode="0.000">
                  <c:v>22.6525</c:v>
                </c:pt>
                <c:pt idx="141" formatCode="0.000">
                  <c:v>22.6525</c:v>
                </c:pt>
                <c:pt idx="142" formatCode="0.000">
                  <c:v>22.6525</c:v>
                </c:pt>
                <c:pt idx="143" formatCode="0.000">
                  <c:v>22.101299999999998</c:v>
                </c:pt>
                <c:pt idx="144" formatCode="0.000">
                  <c:v>17.637</c:v>
                </c:pt>
                <c:pt idx="145" formatCode="0.000">
                  <c:v>17.637</c:v>
                </c:pt>
                <c:pt idx="146" formatCode="0.000">
                  <c:v>17.416499999999999</c:v>
                </c:pt>
                <c:pt idx="147" formatCode="0.000">
                  <c:v>16.865300000000001</c:v>
                </c:pt>
                <c:pt idx="148" formatCode="0.000">
                  <c:v>16.865300000000001</c:v>
                </c:pt>
                <c:pt idx="149" formatCode="0.000">
                  <c:v>18.188099999999999</c:v>
                </c:pt>
                <c:pt idx="150" formatCode="0.000">
                  <c:v>18.132999999999999</c:v>
                </c:pt>
                <c:pt idx="151" formatCode="0.000">
                  <c:v>18.132999999999999</c:v>
                </c:pt>
                <c:pt idx="152" formatCode="0.000">
                  <c:v>18.132999999999999</c:v>
                </c:pt>
                <c:pt idx="153" formatCode="0.000">
                  <c:v>18.132999999999999</c:v>
                </c:pt>
                <c:pt idx="154" formatCode="0.000">
                  <c:v>17.3614</c:v>
                </c:pt>
                <c:pt idx="155" formatCode="0.000">
                  <c:v>17.3614</c:v>
                </c:pt>
                <c:pt idx="156" formatCode="0.000">
                  <c:v>17.3614</c:v>
                </c:pt>
                <c:pt idx="157" formatCode="0.000">
                  <c:v>17.36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73B-4C82-94E3-622C968FEEC2}"/>
            </c:ext>
          </c:extLst>
        </c:ser>
        <c:ser>
          <c:idx val="1"/>
          <c:order val="1"/>
          <c:tx>
            <c:strRef>
              <c:f>Synthese!$C$4</c:f>
              <c:strCache>
                <c:ptCount val="1"/>
                <c:pt idx="0">
                  <c:v>Solids</c:v>
                </c:pt>
              </c:strCache>
            </c:strRef>
          </c:tx>
          <c:spPr>
            <a:ln>
              <a:solidFill>
                <a:srgbClr val="1B9D91"/>
              </a:solidFill>
            </a:ln>
          </c:spPr>
          <c:marker>
            <c:symbol val="none"/>
          </c:marker>
          <c:cat>
            <c:numRef>
              <c:f>Synthese!$A$5:$A$198</c:f>
              <c:numCache>
                <c:formatCode>[$-409]mmm\-yy;@</c:formatCode>
                <c:ptCount val="158"/>
                <c:pt idx="0">
                  <c:v>39539</c:v>
                </c:pt>
                <c:pt idx="1">
                  <c:v>39569</c:v>
                </c:pt>
                <c:pt idx="2">
                  <c:v>39600</c:v>
                </c:pt>
                <c:pt idx="3">
                  <c:v>39630</c:v>
                </c:pt>
                <c:pt idx="4">
                  <c:v>39661</c:v>
                </c:pt>
                <c:pt idx="5">
                  <c:v>39692</c:v>
                </c:pt>
                <c:pt idx="6">
                  <c:v>39722</c:v>
                </c:pt>
                <c:pt idx="7">
                  <c:v>39753</c:v>
                </c:pt>
                <c:pt idx="8">
                  <c:v>39783</c:v>
                </c:pt>
                <c:pt idx="9">
                  <c:v>39814</c:v>
                </c:pt>
                <c:pt idx="10">
                  <c:v>39845</c:v>
                </c:pt>
                <c:pt idx="11">
                  <c:v>39873</c:v>
                </c:pt>
                <c:pt idx="12">
                  <c:v>39904</c:v>
                </c:pt>
                <c:pt idx="13">
                  <c:v>39934</c:v>
                </c:pt>
                <c:pt idx="14">
                  <c:v>39965</c:v>
                </c:pt>
                <c:pt idx="15">
                  <c:v>39995</c:v>
                </c:pt>
                <c:pt idx="16">
                  <c:v>40026</c:v>
                </c:pt>
                <c:pt idx="17">
                  <c:v>40057</c:v>
                </c:pt>
                <c:pt idx="18">
                  <c:v>40087</c:v>
                </c:pt>
                <c:pt idx="19">
                  <c:v>40118</c:v>
                </c:pt>
                <c:pt idx="20">
                  <c:v>40148</c:v>
                </c:pt>
                <c:pt idx="21">
                  <c:v>40179</c:v>
                </c:pt>
                <c:pt idx="22">
                  <c:v>40210</c:v>
                </c:pt>
                <c:pt idx="23">
                  <c:v>40238</c:v>
                </c:pt>
                <c:pt idx="24">
                  <c:v>40269</c:v>
                </c:pt>
                <c:pt idx="25">
                  <c:v>40299</c:v>
                </c:pt>
                <c:pt idx="26">
                  <c:v>40330</c:v>
                </c:pt>
                <c:pt idx="27">
                  <c:v>40360</c:v>
                </c:pt>
                <c:pt idx="28">
                  <c:v>40391</c:v>
                </c:pt>
                <c:pt idx="29">
                  <c:v>40422</c:v>
                </c:pt>
                <c:pt idx="30">
                  <c:v>40452</c:v>
                </c:pt>
                <c:pt idx="31">
                  <c:v>40483</c:v>
                </c:pt>
                <c:pt idx="32">
                  <c:v>40513</c:v>
                </c:pt>
                <c:pt idx="33">
                  <c:v>40544</c:v>
                </c:pt>
                <c:pt idx="34">
                  <c:v>40575</c:v>
                </c:pt>
                <c:pt idx="35">
                  <c:v>40603</c:v>
                </c:pt>
                <c:pt idx="36">
                  <c:v>40634</c:v>
                </c:pt>
                <c:pt idx="37">
                  <c:v>40664</c:v>
                </c:pt>
                <c:pt idx="38">
                  <c:v>40695</c:v>
                </c:pt>
                <c:pt idx="39">
                  <c:v>40725</c:v>
                </c:pt>
                <c:pt idx="40">
                  <c:v>40756</c:v>
                </c:pt>
                <c:pt idx="41">
                  <c:v>40787</c:v>
                </c:pt>
                <c:pt idx="42">
                  <c:v>40817</c:v>
                </c:pt>
                <c:pt idx="43">
                  <c:v>40848</c:v>
                </c:pt>
                <c:pt idx="44">
                  <c:v>40878</c:v>
                </c:pt>
                <c:pt idx="45">
                  <c:v>40909</c:v>
                </c:pt>
                <c:pt idx="46">
                  <c:v>40940</c:v>
                </c:pt>
                <c:pt idx="47">
                  <c:v>40969</c:v>
                </c:pt>
                <c:pt idx="48">
                  <c:v>41000</c:v>
                </c:pt>
                <c:pt idx="49">
                  <c:v>41030</c:v>
                </c:pt>
                <c:pt idx="50">
                  <c:v>41061</c:v>
                </c:pt>
                <c:pt idx="51">
                  <c:v>41091</c:v>
                </c:pt>
                <c:pt idx="52">
                  <c:v>41122</c:v>
                </c:pt>
                <c:pt idx="53">
                  <c:v>41153</c:v>
                </c:pt>
                <c:pt idx="54">
                  <c:v>41183</c:v>
                </c:pt>
                <c:pt idx="55">
                  <c:v>41214</c:v>
                </c:pt>
                <c:pt idx="56">
                  <c:v>41244</c:v>
                </c:pt>
                <c:pt idx="57">
                  <c:v>41275</c:v>
                </c:pt>
                <c:pt idx="58">
                  <c:v>41306</c:v>
                </c:pt>
                <c:pt idx="59">
                  <c:v>41334</c:v>
                </c:pt>
                <c:pt idx="60">
                  <c:v>41365</c:v>
                </c:pt>
                <c:pt idx="61">
                  <c:v>41395</c:v>
                </c:pt>
                <c:pt idx="62">
                  <c:v>41426</c:v>
                </c:pt>
                <c:pt idx="63">
                  <c:v>41456</c:v>
                </c:pt>
                <c:pt idx="64">
                  <c:v>41487</c:v>
                </c:pt>
                <c:pt idx="65">
                  <c:v>41518</c:v>
                </c:pt>
                <c:pt idx="66">
                  <c:v>41548</c:v>
                </c:pt>
                <c:pt idx="67">
                  <c:v>41579</c:v>
                </c:pt>
                <c:pt idx="68">
                  <c:v>41609</c:v>
                </c:pt>
                <c:pt idx="69">
                  <c:v>41640</c:v>
                </c:pt>
                <c:pt idx="70">
                  <c:v>41671</c:v>
                </c:pt>
                <c:pt idx="71">
                  <c:v>41699</c:v>
                </c:pt>
                <c:pt idx="72">
                  <c:v>41730</c:v>
                </c:pt>
                <c:pt idx="73">
                  <c:v>41760</c:v>
                </c:pt>
                <c:pt idx="74">
                  <c:v>41791</c:v>
                </c:pt>
                <c:pt idx="75">
                  <c:v>41821</c:v>
                </c:pt>
                <c:pt idx="76">
                  <c:v>41852</c:v>
                </c:pt>
                <c:pt idx="77">
                  <c:v>41883</c:v>
                </c:pt>
                <c:pt idx="78">
                  <c:v>41913</c:v>
                </c:pt>
                <c:pt idx="79">
                  <c:v>41944</c:v>
                </c:pt>
                <c:pt idx="80">
                  <c:v>41974</c:v>
                </c:pt>
                <c:pt idx="81">
                  <c:v>42005</c:v>
                </c:pt>
                <c:pt idx="82">
                  <c:v>42036</c:v>
                </c:pt>
                <c:pt idx="83">
                  <c:v>42064</c:v>
                </c:pt>
                <c:pt idx="84">
                  <c:v>42095</c:v>
                </c:pt>
                <c:pt idx="85">
                  <c:v>42125</c:v>
                </c:pt>
                <c:pt idx="86">
                  <c:v>42156</c:v>
                </c:pt>
                <c:pt idx="87">
                  <c:v>42186</c:v>
                </c:pt>
                <c:pt idx="88">
                  <c:v>42217</c:v>
                </c:pt>
                <c:pt idx="89">
                  <c:v>42248</c:v>
                </c:pt>
                <c:pt idx="90">
                  <c:v>42278</c:v>
                </c:pt>
                <c:pt idx="91">
                  <c:v>42309</c:v>
                </c:pt>
                <c:pt idx="92">
                  <c:v>42339</c:v>
                </c:pt>
                <c:pt idx="93">
                  <c:v>42370</c:v>
                </c:pt>
                <c:pt idx="94">
                  <c:v>42401</c:v>
                </c:pt>
                <c:pt idx="95">
                  <c:v>42430</c:v>
                </c:pt>
                <c:pt idx="96">
                  <c:v>42461</c:v>
                </c:pt>
                <c:pt idx="97">
                  <c:v>42491</c:v>
                </c:pt>
                <c:pt idx="98">
                  <c:v>42522</c:v>
                </c:pt>
                <c:pt idx="99">
                  <c:v>42552</c:v>
                </c:pt>
                <c:pt idx="100">
                  <c:v>42583</c:v>
                </c:pt>
                <c:pt idx="101">
                  <c:v>42614</c:v>
                </c:pt>
                <c:pt idx="102">
                  <c:v>42644</c:v>
                </c:pt>
                <c:pt idx="103">
                  <c:v>42675</c:v>
                </c:pt>
                <c:pt idx="104">
                  <c:v>42705</c:v>
                </c:pt>
                <c:pt idx="105">
                  <c:v>42736</c:v>
                </c:pt>
                <c:pt idx="106">
                  <c:v>42767</c:v>
                </c:pt>
                <c:pt idx="107">
                  <c:v>42795</c:v>
                </c:pt>
                <c:pt idx="108">
                  <c:v>42826</c:v>
                </c:pt>
                <c:pt idx="109">
                  <c:v>42856</c:v>
                </c:pt>
                <c:pt idx="110">
                  <c:v>42887</c:v>
                </c:pt>
                <c:pt idx="111">
                  <c:v>42917</c:v>
                </c:pt>
                <c:pt idx="112">
                  <c:v>42948</c:v>
                </c:pt>
                <c:pt idx="113">
                  <c:v>42979</c:v>
                </c:pt>
                <c:pt idx="114">
                  <c:v>43009</c:v>
                </c:pt>
                <c:pt idx="115">
                  <c:v>43040</c:v>
                </c:pt>
                <c:pt idx="116">
                  <c:v>43070</c:v>
                </c:pt>
                <c:pt idx="117">
                  <c:v>43101</c:v>
                </c:pt>
                <c:pt idx="118">
                  <c:v>43132</c:v>
                </c:pt>
                <c:pt idx="119">
                  <c:v>43160</c:v>
                </c:pt>
                <c:pt idx="120">
                  <c:v>43191</c:v>
                </c:pt>
                <c:pt idx="121">
                  <c:v>43221</c:v>
                </c:pt>
                <c:pt idx="122">
                  <c:v>43252</c:v>
                </c:pt>
                <c:pt idx="123">
                  <c:v>43282</c:v>
                </c:pt>
                <c:pt idx="124">
                  <c:v>43313</c:v>
                </c:pt>
                <c:pt idx="125">
                  <c:v>43344</c:v>
                </c:pt>
                <c:pt idx="126">
                  <c:v>43374</c:v>
                </c:pt>
                <c:pt idx="127">
                  <c:v>43405</c:v>
                </c:pt>
                <c:pt idx="128">
                  <c:v>43435</c:v>
                </c:pt>
                <c:pt idx="129">
                  <c:v>43466</c:v>
                </c:pt>
                <c:pt idx="130">
                  <c:v>43497</c:v>
                </c:pt>
                <c:pt idx="131">
                  <c:v>43525</c:v>
                </c:pt>
                <c:pt idx="132">
                  <c:v>43556</c:v>
                </c:pt>
                <c:pt idx="133">
                  <c:v>43586</c:v>
                </c:pt>
                <c:pt idx="134">
                  <c:v>43617</c:v>
                </c:pt>
                <c:pt idx="135">
                  <c:v>43647</c:v>
                </c:pt>
                <c:pt idx="136">
                  <c:v>43678</c:v>
                </c:pt>
                <c:pt idx="137">
                  <c:v>43709</c:v>
                </c:pt>
                <c:pt idx="138">
                  <c:v>43739</c:v>
                </c:pt>
                <c:pt idx="139">
                  <c:v>43770</c:v>
                </c:pt>
                <c:pt idx="140">
                  <c:v>43800</c:v>
                </c:pt>
                <c:pt idx="141">
                  <c:v>43831</c:v>
                </c:pt>
                <c:pt idx="142">
                  <c:v>43862</c:v>
                </c:pt>
                <c:pt idx="143">
                  <c:v>43891</c:v>
                </c:pt>
                <c:pt idx="144">
                  <c:v>43922</c:v>
                </c:pt>
                <c:pt idx="145">
                  <c:v>43952</c:v>
                </c:pt>
                <c:pt idx="146">
                  <c:v>43983</c:v>
                </c:pt>
                <c:pt idx="147">
                  <c:v>44013</c:v>
                </c:pt>
                <c:pt idx="148">
                  <c:v>44044</c:v>
                </c:pt>
                <c:pt idx="149">
                  <c:v>44075</c:v>
                </c:pt>
                <c:pt idx="150">
                  <c:v>44105</c:v>
                </c:pt>
                <c:pt idx="151">
                  <c:v>44136</c:v>
                </c:pt>
                <c:pt idx="152">
                  <c:v>44166</c:v>
                </c:pt>
                <c:pt idx="153">
                  <c:v>44197</c:v>
                </c:pt>
                <c:pt idx="154">
                  <c:v>44228</c:v>
                </c:pt>
                <c:pt idx="155">
                  <c:v>44256</c:v>
                </c:pt>
                <c:pt idx="156">
                  <c:v>44287</c:v>
                </c:pt>
                <c:pt idx="157">
                  <c:v>44317</c:v>
                </c:pt>
              </c:numCache>
            </c:numRef>
          </c:cat>
          <c:val>
            <c:numRef>
              <c:f>Synthese!$C$5:$C$198</c:f>
              <c:numCache>
                <c:formatCode>General</c:formatCode>
                <c:ptCount val="158"/>
                <c:pt idx="0">
                  <c:v>11.391</c:v>
                </c:pt>
                <c:pt idx="1">
                  <c:v>9.99</c:v>
                </c:pt>
                <c:pt idx="2">
                  <c:v>9.4619999999999997</c:v>
                </c:pt>
                <c:pt idx="3">
                  <c:v>9.0939999999999994</c:v>
                </c:pt>
                <c:pt idx="4">
                  <c:v>8.0470000000000006</c:v>
                </c:pt>
                <c:pt idx="5">
                  <c:v>6.6689999999999996</c:v>
                </c:pt>
                <c:pt idx="6">
                  <c:v>3.6379999999999999</c:v>
                </c:pt>
                <c:pt idx="7">
                  <c:v>3.0870000000000002</c:v>
                </c:pt>
                <c:pt idx="8">
                  <c:v>2.5350000000000001</c:v>
                </c:pt>
                <c:pt idx="9">
                  <c:v>2.012</c:v>
                </c:pt>
                <c:pt idx="10">
                  <c:v>1.75</c:v>
                </c:pt>
                <c:pt idx="11">
                  <c:v>1.7450000000000001</c:v>
                </c:pt>
                <c:pt idx="12">
                  <c:v>1.571</c:v>
                </c:pt>
                <c:pt idx="13">
                  <c:v>1.4330000000000001</c:v>
                </c:pt>
                <c:pt idx="14">
                  <c:v>1.1759999999999999</c:v>
                </c:pt>
                <c:pt idx="15">
                  <c:v>0.93700000000000006</c:v>
                </c:pt>
                <c:pt idx="16">
                  <c:v>1.915</c:v>
                </c:pt>
                <c:pt idx="17">
                  <c:v>2.177</c:v>
                </c:pt>
                <c:pt idx="18">
                  <c:v>2.7010000000000001</c:v>
                </c:pt>
                <c:pt idx="19">
                  <c:v>3.8580000000000001</c:v>
                </c:pt>
                <c:pt idx="20">
                  <c:v>5.0339999999999998</c:v>
                </c:pt>
                <c:pt idx="21">
                  <c:v>6.1550000000000002</c:v>
                </c:pt>
                <c:pt idx="22">
                  <c:v>7.9089999999999998</c:v>
                </c:pt>
                <c:pt idx="23">
                  <c:v>9.3699999999999992</c:v>
                </c:pt>
                <c:pt idx="24">
                  <c:v>9.7010000000000005</c:v>
                </c:pt>
                <c:pt idx="25">
                  <c:v>10.196999999999999</c:v>
                </c:pt>
                <c:pt idx="26">
                  <c:v>10.679</c:v>
                </c:pt>
                <c:pt idx="27">
                  <c:v>11.519</c:v>
                </c:pt>
                <c:pt idx="28">
                  <c:v>11.702999999999999</c:v>
                </c:pt>
                <c:pt idx="29">
                  <c:v>12.057</c:v>
                </c:pt>
                <c:pt idx="30">
                  <c:v>12.291</c:v>
                </c:pt>
                <c:pt idx="31">
                  <c:v>12.026</c:v>
                </c:pt>
                <c:pt idx="32">
                  <c:v>10.847</c:v>
                </c:pt>
                <c:pt idx="33">
                  <c:v>10.996</c:v>
                </c:pt>
                <c:pt idx="34">
                  <c:v>11.134</c:v>
                </c:pt>
                <c:pt idx="35">
                  <c:v>11.574</c:v>
                </c:pt>
                <c:pt idx="36">
                  <c:v>11.574</c:v>
                </c:pt>
                <c:pt idx="37">
                  <c:v>11.602</c:v>
                </c:pt>
                <c:pt idx="38">
                  <c:v>11.464</c:v>
                </c:pt>
                <c:pt idx="39">
                  <c:v>11.134</c:v>
                </c:pt>
                <c:pt idx="40">
                  <c:v>11.281000000000001</c:v>
                </c:pt>
                <c:pt idx="41">
                  <c:v>11.101000000000001</c:v>
                </c:pt>
                <c:pt idx="42">
                  <c:v>10.141</c:v>
                </c:pt>
                <c:pt idx="43">
                  <c:v>9.7739999999999991</c:v>
                </c:pt>
                <c:pt idx="44">
                  <c:v>9.6449999999999996</c:v>
                </c:pt>
                <c:pt idx="45">
                  <c:v>9.5350000000000001</c:v>
                </c:pt>
                <c:pt idx="46">
                  <c:v>8.9559999999999995</c:v>
                </c:pt>
                <c:pt idx="47">
                  <c:v>8.5980000000000008</c:v>
                </c:pt>
                <c:pt idx="48">
                  <c:v>8.6809999999999992</c:v>
                </c:pt>
                <c:pt idx="49">
                  <c:v>7.9089999999999998</c:v>
                </c:pt>
                <c:pt idx="50">
                  <c:v>7.1871</c:v>
                </c:pt>
                <c:pt idx="51">
                  <c:v>6.2831999999999999</c:v>
                </c:pt>
                <c:pt idx="52" formatCode="0.000">
                  <c:v>5.8201999999999998</c:v>
                </c:pt>
                <c:pt idx="53" formatCode="0.000">
                  <c:v>5.8974000000000002</c:v>
                </c:pt>
                <c:pt idx="54" formatCode="0.000">
                  <c:v>5.8147000000000002</c:v>
                </c:pt>
                <c:pt idx="55" formatCode="0.000">
                  <c:v>5.6327999999999996</c:v>
                </c:pt>
                <c:pt idx="56" formatCode="0.000">
                  <c:v>5.6493000000000002</c:v>
                </c:pt>
                <c:pt idx="57" formatCode="0.000">
                  <c:v>5.5115999999999996</c:v>
                </c:pt>
                <c:pt idx="58" formatCode="0.000">
                  <c:v>5.3048999999999999</c:v>
                </c:pt>
                <c:pt idx="59" formatCode="0.000">
                  <c:v>5.1368</c:v>
                </c:pt>
                <c:pt idx="60" formatCode="0.000">
                  <c:v>4.9190583749999996</c:v>
                </c:pt>
                <c:pt idx="61" formatCode="0.000">
                  <c:v>4.0454777000000002</c:v>
                </c:pt>
                <c:pt idx="62" formatCode="0.000">
                  <c:v>3.8856427500000001</c:v>
                </c:pt>
                <c:pt idx="63" formatCode="0.000">
                  <c:v>3.8580999999999999</c:v>
                </c:pt>
                <c:pt idx="64" formatCode="0.000">
                  <c:v>3.8801000000000001</c:v>
                </c:pt>
                <c:pt idx="65" formatCode="0.000">
                  <c:v>3.9821</c:v>
                </c:pt>
                <c:pt idx="66" formatCode="0.000">
                  <c:v>4.1887999999999996</c:v>
                </c:pt>
                <c:pt idx="67" formatCode="0.000">
                  <c:v>4.2880000000000003</c:v>
                </c:pt>
                <c:pt idx="68" formatCode="0.000">
                  <c:v>4.4092000000000002</c:v>
                </c:pt>
                <c:pt idx="69" formatCode="0.000">
                  <c:v>4.7069000000000001</c:v>
                </c:pt>
                <c:pt idx="70" formatCode="0.000">
                  <c:v>5.0982000000000003</c:v>
                </c:pt>
                <c:pt idx="71" formatCode="0.000">
                  <c:v>5.1670999999999996</c:v>
                </c:pt>
                <c:pt idx="72" formatCode="0.000">
                  <c:v>5.4564000000000004</c:v>
                </c:pt>
                <c:pt idx="73" formatCode="0.000">
                  <c:v>6.0627000000000004</c:v>
                </c:pt>
                <c:pt idx="74" formatCode="0.000">
                  <c:v>6.5587</c:v>
                </c:pt>
                <c:pt idx="75" formatCode="0.000">
                  <c:v>6.7240909999999996</c:v>
                </c:pt>
                <c:pt idx="76" formatCode="0.000">
                  <c:v>6.7240909999999996</c:v>
                </c:pt>
                <c:pt idx="77" formatCode="0.000">
                  <c:v>6.7240909999999996</c:v>
                </c:pt>
                <c:pt idx="78" formatCode="0.000">
                  <c:v>6.7240909999999996</c:v>
                </c:pt>
                <c:pt idx="79" formatCode="0.000">
                  <c:v>6.7240909999999996</c:v>
                </c:pt>
                <c:pt idx="80" formatCode="0.000">
                  <c:v>6.7240909999999996</c:v>
                </c:pt>
                <c:pt idx="81" formatCode="0.000">
                  <c:v>6.7240909999999996</c:v>
                </c:pt>
                <c:pt idx="82" formatCode="0.000">
                  <c:v>6.7378999999999998</c:v>
                </c:pt>
                <c:pt idx="83" formatCode="0.000">
                  <c:v>6.7930000000000001</c:v>
                </c:pt>
                <c:pt idx="84" formatCode="0.000">
                  <c:v>6.8342999999999998</c:v>
                </c:pt>
                <c:pt idx="85" formatCode="0.000">
                  <c:v>6.8342999999999998</c:v>
                </c:pt>
                <c:pt idx="86" formatCode="0.000">
                  <c:v>7.0686</c:v>
                </c:pt>
                <c:pt idx="87" formatCode="0.000">
                  <c:v>7.2531999999999996</c:v>
                </c:pt>
                <c:pt idx="88" formatCode="0.000">
                  <c:v>7.2751999999999999</c:v>
                </c:pt>
                <c:pt idx="89" formatCode="0.000">
                  <c:v>7.2751999999999999</c:v>
                </c:pt>
                <c:pt idx="90" formatCode="0.000">
                  <c:v>7.2312000000000003</c:v>
                </c:pt>
                <c:pt idx="91" formatCode="0.000">
                  <c:v>7.0548000000000002</c:v>
                </c:pt>
                <c:pt idx="92" formatCode="0.000">
                  <c:v>7.0548000000000002</c:v>
                </c:pt>
                <c:pt idx="93" formatCode="0.000">
                  <c:v>6.6965000000000003</c:v>
                </c:pt>
                <c:pt idx="94" formatCode="0.000">
                  <c:v>6.4898999999999996</c:v>
                </c:pt>
                <c:pt idx="95" formatCode="0.000">
                  <c:v>6.0848000000000004</c:v>
                </c:pt>
                <c:pt idx="96" formatCode="0.000">
                  <c:v>5.3461999999999996</c:v>
                </c:pt>
                <c:pt idx="97" formatCode="0.000">
                  <c:v>5.2911000000000001</c:v>
                </c:pt>
                <c:pt idx="98" formatCode="0.000">
                  <c:v>5.2911000000000001</c:v>
                </c:pt>
                <c:pt idx="99" formatCode="0.000">
                  <c:v>5.0293000000000001</c:v>
                </c:pt>
                <c:pt idx="100" formatCode="0.000">
                  <c:v>4.5469999999999997</c:v>
                </c:pt>
                <c:pt idx="101" formatCode="0.000">
                  <c:v>4.0124000000000004</c:v>
                </c:pt>
                <c:pt idx="102" formatCode="0.000">
                  <c:v>3.8856000000000002</c:v>
                </c:pt>
                <c:pt idx="103" formatCode="0.000">
                  <c:v>3.5548999999999999</c:v>
                </c:pt>
                <c:pt idx="104" formatCode="0.000">
                  <c:v>3.4171999999999998</c:v>
                </c:pt>
                <c:pt idx="105" formatCode="0.000">
                  <c:v>3.4998</c:v>
                </c:pt>
                <c:pt idx="106" formatCode="0.000">
                  <c:v>3.7616000000000001</c:v>
                </c:pt>
                <c:pt idx="107" formatCode="0.000">
                  <c:v>4.0674999999999999</c:v>
                </c:pt>
                <c:pt idx="108" formatCode="0.000">
                  <c:v>4.2576999999999998</c:v>
                </c:pt>
                <c:pt idx="109" formatCode="0.000">
                  <c:v>4.3540999999999999</c:v>
                </c:pt>
                <c:pt idx="110" formatCode="0.000">
                  <c:v>4.4775999999999998</c:v>
                </c:pt>
                <c:pt idx="111" formatCode="0.000">
                  <c:v>4.6296999999999997</c:v>
                </c:pt>
                <c:pt idx="112" formatCode="0.000">
                  <c:v>4.6296999999999997</c:v>
                </c:pt>
                <c:pt idx="113" formatCode="0.000">
                  <c:v>4.7949999999999999</c:v>
                </c:pt>
                <c:pt idx="114" formatCode="0.000">
                  <c:v>5.0705999999999998</c:v>
                </c:pt>
                <c:pt idx="115" formatCode="0.000">
                  <c:v>5.2911000000000001</c:v>
                </c:pt>
                <c:pt idx="116" formatCode="0.000">
                  <c:v>5.2911000000000001</c:v>
                </c:pt>
                <c:pt idx="117" formatCode="0.000">
                  <c:v>5.4013</c:v>
                </c:pt>
                <c:pt idx="118" formatCode="0.000">
                  <c:v>5.3186999999999998</c:v>
                </c:pt>
                <c:pt idx="119" formatCode="0.000">
                  <c:v>5.2911000000000001</c:v>
                </c:pt>
                <c:pt idx="120" formatCode="0.000">
                  <c:v>5.0705999999999998</c:v>
                </c:pt>
                <c:pt idx="121" formatCode="0.000">
                  <c:v>4.9714</c:v>
                </c:pt>
                <c:pt idx="122" formatCode="0.000">
                  <c:v>4.9053000000000004</c:v>
                </c:pt>
                <c:pt idx="123" formatCode="0.000">
                  <c:v>4.8502000000000001</c:v>
                </c:pt>
                <c:pt idx="124" formatCode="0.000">
                  <c:v>4.7949999999999999</c:v>
                </c:pt>
                <c:pt idx="125" formatCode="0.000">
                  <c:v>4.9162999999999997</c:v>
                </c:pt>
                <c:pt idx="126" formatCode="0.000">
                  <c:v>5.1809000000000003</c:v>
                </c:pt>
                <c:pt idx="127" formatCode="0.000">
                  <c:v>5.2359999999999998</c:v>
                </c:pt>
                <c:pt idx="128" formatCode="0.000">
                  <c:v>5.2359999999999998</c:v>
                </c:pt>
                <c:pt idx="129" formatCode="0.000">
                  <c:v>5.2359999999999998</c:v>
                </c:pt>
                <c:pt idx="130" formatCode="0.000">
                  <c:v>5.2359999999999998</c:v>
                </c:pt>
                <c:pt idx="131" formatCode="0.000">
                  <c:v>5.3461999999999996</c:v>
                </c:pt>
                <c:pt idx="132" formatCode="0.000">
                  <c:v>5.4675000000000002</c:v>
                </c:pt>
                <c:pt idx="133" formatCode="0.000">
                  <c:v>5.6327999999999996</c:v>
                </c:pt>
                <c:pt idx="134" formatCode="0.000">
                  <c:v>5.6989999999999998</c:v>
                </c:pt>
                <c:pt idx="135" formatCode="0.000">
                  <c:v>5.5115999999999996</c:v>
                </c:pt>
                <c:pt idx="136" formatCode="0.000">
                  <c:v>5.71</c:v>
                </c:pt>
                <c:pt idx="137" formatCode="0.000">
                  <c:v>5.8422000000000001</c:v>
                </c:pt>
                <c:pt idx="138" formatCode="0.000">
                  <c:v>5.7760999999999996</c:v>
                </c:pt>
                <c:pt idx="139" formatCode="0.000">
                  <c:v>5.4565000000000001</c:v>
                </c:pt>
                <c:pt idx="140" formatCode="0.000">
                  <c:v>5.5115999999999996</c:v>
                </c:pt>
                <c:pt idx="141" formatCode="0.000">
                  <c:v>5.5115999999999996</c:v>
                </c:pt>
                <c:pt idx="142" formatCode="0.000">
                  <c:v>5.5115999999999996</c:v>
                </c:pt>
                <c:pt idx="143" formatCode="0.000">
                  <c:v>5.2222</c:v>
                </c:pt>
                <c:pt idx="144" formatCode="0.000">
                  <c:v>3.5825</c:v>
                </c:pt>
                <c:pt idx="145" formatCode="0.000">
                  <c:v>2.0392999999999999</c:v>
                </c:pt>
                <c:pt idx="146" formatCode="0.000">
                  <c:v>1.9842</c:v>
                </c:pt>
                <c:pt idx="147" formatCode="0.000">
                  <c:v>1.8188</c:v>
                </c:pt>
                <c:pt idx="148" formatCode="0.000">
                  <c:v>1.7637</c:v>
                </c:pt>
                <c:pt idx="149" formatCode="0.000">
                  <c:v>1.7637</c:v>
                </c:pt>
                <c:pt idx="150" formatCode="0.000">
                  <c:v>1.8078000000000001</c:v>
                </c:pt>
                <c:pt idx="151" formatCode="0.000">
                  <c:v>2.1633</c:v>
                </c:pt>
                <c:pt idx="152" formatCode="0.000">
                  <c:v>2.4582000000000002</c:v>
                </c:pt>
                <c:pt idx="153" formatCode="0.000">
                  <c:v>3.6652</c:v>
                </c:pt>
                <c:pt idx="154" formatCode="0.000">
                  <c:v>3.9131999999999998</c:v>
                </c:pt>
                <c:pt idx="155" formatCode="0.000">
                  <c:v>4.6711</c:v>
                </c:pt>
                <c:pt idx="156" formatCode="0.000">
                  <c:v>4.3982000000000001</c:v>
                </c:pt>
                <c:pt idx="157" formatCode="0.000">
                  <c:v>4.3540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73B-4C82-94E3-622C968FEEC2}"/>
            </c:ext>
          </c:extLst>
        </c:ser>
        <c:ser>
          <c:idx val="2"/>
          <c:order val="2"/>
          <c:tx>
            <c:strRef>
              <c:f>Synthese!$D$4</c:f>
              <c:strCache>
                <c:ptCount val="1"/>
                <c:pt idx="0">
                  <c:v>Scraps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cat>
            <c:numRef>
              <c:f>Synthese!$A$5:$A$198</c:f>
              <c:numCache>
                <c:formatCode>[$-409]mmm\-yy;@</c:formatCode>
                <c:ptCount val="158"/>
                <c:pt idx="0">
                  <c:v>39539</c:v>
                </c:pt>
                <c:pt idx="1">
                  <c:v>39569</c:v>
                </c:pt>
                <c:pt idx="2">
                  <c:v>39600</c:v>
                </c:pt>
                <c:pt idx="3">
                  <c:v>39630</c:v>
                </c:pt>
                <c:pt idx="4">
                  <c:v>39661</c:v>
                </c:pt>
                <c:pt idx="5">
                  <c:v>39692</c:v>
                </c:pt>
                <c:pt idx="6">
                  <c:v>39722</c:v>
                </c:pt>
                <c:pt idx="7">
                  <c:v>39753</c:v>
                </c:pt>
                <c:pt idx="8">
                  <c:v>39783</c:v>
                </c:pt>
                <c:pt idx="9">
                  <c:v>39814</c:v>
                </c:pt>
                <c:pt idx="10">
                  <c:v>39845</c:v>
                </c:pt>
                <c:pt idx="11">
                  <c:v>39873</c:v>
                </c:pt>
                <c:pt idx="12">
                  <c:v>39904</c:v>
                </c:pt>
                <c:pt idx="13">
                  <c:v>39934</c:v>
                </c:pt>
                <c:pt idx="14">
                  <c:v>39965</c:v>
                </c:pt>
                <c:pt idx="15">
                  <c:v>39995</c:v>
                </c:pt>
                <c:pt idx="16">
                  <c:v>40026</c:v>
                </c:pt>
                <c:pt idx="17">
                  <c:v>40057</c:v>
                </c:pt>
                <c:pt idx="18">
                  <c:v>40087</c:v>
                </c:pt>
                <c:pt idx="19">
                  <c:v>40118</c:v>
                </c:pt>
                <c:pt idx="20">
                  <c:v>40148</c:v>
                </c:pt>
                <c:pt idx="21">
                  <c:v>40179</c:v>
                </c:pt>
                <c:pt idx="22">
                  <c:v>40210</c:v>
                </c:pt>
                <c:pt idx="23">
                  <c:v>40238</c:v>
                </c:pt>
                <c:pt idx="24">
                  <c:v>40269</c:v>
                </c:pt>
                <c:pt idx="25">
                  <c:v>40299</c:v>
                </c:pt>
                <c:pt idx="26">
                  <c:v>40330</c:v>
                </c:pt>
                <c:pt idx="27">
                  <c:v>40360</c:v>
                </c:pt>
                <c:pt idx="28">
                  <c:v>40391</c:v>
                </c:pt>
                <c:pt idx="29">
                  <c:v>40422</c:v>
                </c:pt>
                <c:pt idx="30">
                  <c:v>40452</c:v>
                </c:pt>
                <c:pt idx="31">
                  <c:v>40483</c:v>
                </c:pt>
                <c:pt idx="32">
                  <c:v>40513</c:v>
                </c:pt>
                <c:pt idx="33">
                  <c:v>40544</c:v>
                </c:pt>
                <c:pt idx="34">
                  <c:v>40575</c:v>
                </c:pt>
                <c:pt idx="35">
                  <c:v>40603</c:v>
                </c:pt>
                <c:pt idx="36">
                  <c:v>40634</c:v>
                </c:pt>
                <c:pt idx="37">
                  <c:v>40664</c:v>
                </c:pt>
                <c:pt idx="38">
                  <c:v>40695</c:v>
                </c:pt>
                <c:pt idx="39">
                  <c:v>40725</c:v>
                </c:pt>
                <c:pt idx="40">
                  <c:v>40756</c:v>
                </c:pt>
                <c:pt idx="41">
                  <c:v>40787</c:v>
                </c:pt>
                <c:pt idx="42">
                  <c:v>40817</c:v>
                </c:pt>
                <c:pt idx="43">
                  <c:v>40848</c:v>
                </c:pt>
                <c:pt idx="44">
                  <c:v>40878</c:v>
                </c:pt>
                <c:pt idx="45">
                  <c:v>40909</c:v>
                </c:pt>
                <c:pt idx="46">
                  <c:v>40940</c:v>
                </c:pt>
                <c:pt idx="47">
                  <c:v>40969</c:v>
                </c:pt>
                <c:pt idx="48">
                  <c:v>41000</c:v>
                </c:pt>
                <c:pt idx="49">
                  <c:v>41030</c:v>
                </c:pt>
                <c:pt idx="50">
                  <c:v>41061</c:v>
                </c:pt>
                <c:pt idx="51">
                  <c:v>41091</c:v>
                </c:pt>
                <c:pt idx="52">
                  <c:v>41122</c:v>
                </c:pt>
                <c:pt idx="53">
                  <c:v>41153</c:v>
                </c:pt>
                <c:pt idx="54">
                  <c:v>41183</c:v>
                </c:pt>
                <c:pt idx="55">
                  <c:v>41214</c:v>
                </c:pt>
                <c:pt idx="56">
                  <c:v>41244</c:v>
                </c:pt>
                <c:pt idx="57">
                  <c:v>41275</c:v>
                </c:pt>
                <c:pt idx="58">
                  <c:v>41306</c:v>
                </c:pt>
                <c:pt idx="59">
                  <c:v>41334</c:v>
                </c:pt>
                <c:pt idx="60">
                  <c:v>41365</c:v>
                </c:pt>
                <c:pt idx="61">
                  <c:v>41395</c:v>
                </c:pt>
                <c:pt idx="62">
                  <c:v>41426</c:v>
                </c:pt>
                <c:pt idx="63">
                  <c:v>41456</c:v>
                </c:pt>
                <c:pt idx="64">
                  <c:v>41487</c:v>
                </c:pt>
                <c:pt idx="65">
                  <c:v>41518</c:v>
                </c:pt>
                <c:pt idx="66">
                  <c:v>41548</c:v>
                </c:pt>
                <c:pt idx="67">
                  <c:v>41579</c:v>
                </c:pt>
                <c:pt idx="68">
                  <c:v>41609</c:v>
                </c:pt>
                <c:pt idx="69">
                  <c:v>41640</c:v>
                </c:pt>
                <c:pt idx="70">
                  <c:v>41671</c:v>
                </c:pt>
                <c:pt idx="71">
                  <c:v>41699</c:v>
                </c:pt>
                <c:pt idx="72">
                  <c:v>41730</c:v>
                </c:pt>
                <c:pt idx="73">
                  <c:v>41760</c:v>
                </c:pt>
                <c:pt idx="74">
                  <c:v>41791</c:v>
                </c:pt>
                <c:pt idx="75">
                  <c:v>41821</c:v>
                </c:pt>
                <c:pt idx="76">
                  <c:v>41852</c:v>
                </c:pt>
                <c:pt idx="77">
                  <c:v>41883</c:v>
                </c:pt>
                <c:pt idx="78">
                  <c:v>41913</c:v>
                </c:pt>
                <c:pt idx="79">
                  <c:v>41944</c:v>
                </c:pt>
                <c:pt idx="80">
                  <c:v>41974</c:v>
                </c:pt>
                <c:pt idx="81">
                  <c:v>42005</c:v>
                </c:pt>
                <c:pt idx="82">
                  <c:v>42036</c:v>
                </c:pt>
                <c:pt idx="83">
                  <c:v>42064</c:v>
                </c:pt>
                <c:pt idx="84">
                  <c:v>42095</c:v>
                </c:pt>
                <c:pt idx="85">
                  <c:v>42125</c:v>
                </c:pt>
                <c:pt idx="86">
                  <c:v>42156</c:v>
                </c:pt>
                <c:pt idx="87">
                  <c:v>42186</c:v>
                </c:pt>
                <c:pt idx="88">
                  <c:v>42217</c:v>
                </c:pt>
                <c:pt idx="89">
                  <c:v>42248</c:v>
                </c:pt>
                <c:pt idx="90">
                  <c:v>42278</c:v>
                </c:pt>
                <c:pt idx="91">
                  <c:v>42309</c:v>
                </c:pt>
                <c:pt idx="92">
                  <c:v>42339</c:v>
                </c:pt>
                <c:pt idx="93">
                  <c:v>42370</c:v>
                </c:pt>
                <c:pt idx="94">
                  <c:v>42401</c:v>
                </c:pt>
                <c:pt idx="95">
                  <c:v>42430</c:v>
                </c:pt>
                <c:pt idx="96">
                  <c:v>42461</c:v>
                </c:pt>
                <c:pt idx="97">
                  <c:v>42491</c:v>
                </c:pt>
                <c:pt idx="98">
                  <c:v>42522</c:v>
                </c:pt>
                <c:pt idx="99">
                  <c:v>42552</c:v>
                </c:pt>
                <c:pt idx="100">
                  <c:v>42583</c:v>
                </c:pt>
                <c:pt idx="101">
                  <c:v>42614</c:v>
                </c:pt>
                <c:pt idx="102">
                  <c:v>42644</c:v>
                </c:pt>
                <c:pt idx="103">
                  <c:v>42675</c:v>
                </c:pt>
                <c:pt idx="104">
                  <c:v>42705</c:v>
                </c:pt>
                <c:pt idx="105">
                  <c:v>42736</c:v>
                </c:pt>
                <c:pt idx="106">
                  <c:v>42767</c:v>
                </c:pt>
                <c:pt idx="107">
                  <c:v>42795</c:v>
                </c:pt>
                <c:pt idx="108">
                  <c:v>42826</c:v>
                </c:pt>
                <c:pt idx="109">
                  <c:v>42856</c:v>
                </c:pt>
                <c:pt idx="110">
                  <c:v>42887</c:v>
                </c:pt>
                <c:pt idx="111">
                  <c:v>42917</c:v>
                </c:pt>
                <c:pt idx="112">
                  <c:v>42948</c:v>
                </c:pt>
                <c:pt idx="113">
                  <c:v>42979</c:v>
                </c:pt>
                <c:pt idx="114">
                  <c:v>43009</c:v>
                </c:pt>
                <c:pt idx="115">
                  <c:v>43040</c:v>
                </c:pt>
                <c:pt idx="116">
                  <c:v>43070</c:v>
                </c:pt>
                <c:pt idx="117">
                  <c:v>43101</c:v>
                </c:pt>
                <c:pt idx="118">
                  <c:v>43132</c:v>
                </c:pt>
                <c:pt idx="119">
                  <c:v>43160</c:v>
                </c:pt>
                <c:pt idx="120">
                  <c:v>43191</c:v>
                </c:pt>
                <c:pt idx="121">
                  <c:v>43221</c:v>
                </c:pt>
                <c:pt idx="122">
                  <c:v>43252</c:v>
                </c:pt>
                <c:pt idx="123">
                  <c:v>43282</c:v>
                </c:pt>
                <c:pt idx="124">
                  <c:v>43313</c:v>
                </c:pt>
                <c:pt idx="125">
                  <c:v>43344</c:v>
                </c:pt>
                <c:pt idx="126">
                  <c:v>43374</c:v>
                </c:pt>
                <c:pt idx="127">
                  <c:v>43405</c:v>
                </c:pt>
                <c:pt idx="128">
                  <c:v>43435</c:v>
                </c:pt>
                <c:pt idx="129">
                  <c:v>43466</c:v>
                </c:pt>
                <c:pt idx="130">
                  <c:v>43497</c:v>
                </c:pt>
                <c:pt idx="131">
                  <c:v>43525</c:v>
                </c:pt>
                <c:pt idx="132">
                  <c:v>43556</c:v>
                </c:pt>
                <c:pt idx="133">
                  <c:v>43586</c:v>
                </c:pt>
                <c:pt idx="134">
                  <c:v>43617</c:v>
                </c:pt>
                <c:pt idx="135">
                  <c:v>43647</c:v>
                </c:pt>
                <c:pt idx="136">
                  <c:v>43678</c:v>
                </c:pt>
                <c:pt idx="137">
                  <c:v>43709</c:v>
                </c:pt>
                <c:pt idx="138">
                  <c:v>43739</c:v>
                </c:pt>
                <c:pt idx="139">
                  <c:v>43770</c:v>
                </c:pt>
                <c:pt idx="140">
                  <c:v>43800</c:v>
                </c:pt>
                <c:pt idx="141">
                  <c:v>43831</c:v>
                </c:pt>
                <c:pt idx="142">
                  <c:v>43862</c:v>
                </c:pt>
                <c:pt idx="143">
                  <c:v>43891</c:v>
                </c:pt>
                <c:pt idx="144">
                  <c:v>43922</c:v>
                </c:pt>
                <c:pt idx="145">
                  <c:v>43952</c:v>
                </c:pt>
                <c:pt idx="146">
                  <c:v>43983</c:v>
                </c:pt>
                <c:pt idx="147">
                  <c:v>44013</c:v>
                </c:pt>
                <c:pt idx="148">
                  <c:v>44044</c:v>
                </c:pt>
                <c:pt idx="149">
                  <c:v>44075</c:v>
                </c:pt>
                <c:pt idx="150">
                  <c:v>44105</c:v>
                </c:pt>
                <c:pt idx="151">
                  <c:v>44136</c:v>
                </c:pt>
                <c:pt idx="152">
                  <c:v>44166</c:v>
                </c:pt>
                <c:pt idx="153">
                  <c:v>44197</c:v>
                </c:pt>
                <c:pt idx="154">
                  <c:v>44228</c:v>
                </c:pt>
                <c:pt idx="155">
                  <c:v>44256</c:v>
                </c:pt>
                <c:pt idx="156">
                  <c:v>44287</c:v>
                </c:pt>
                <c:pt idx="157">
                  <c:v>44317</c:v>
                </c:pt>
              </c:numCache>
            </c:numRef>
          </c:cat>
          <c:val>
            <c:numRef>
              <c:f>Synthese!$D$5:$D$198</c:f>
              <c:numCache>
                <c:formatCode>General</c:formatCode>
                <c:ptCount val="158"/>
                <c:pt idx="0">
                  <c:v>3.7850000000000001</c:v>
                </c:pt>
                <c:pt idx="1">
                  <c:v>4.0789999999999997</c:v>
                </c:pt>
                <c:pt idx="2">
                  <c:v>3.8769999999999998</c:v>
                </c:pt>
                <c:pt idx="3">
                  <c:v>3.6379999999999999</c:v>
                </c:pt>
                <c:pt idx="4">
                  <c:v>3.6930000000000001</c:v>
                </c:pt>
                <c:pt idx="5">
                  <c:v>3.4910000000000001</c:v>
                </c:pt>
                <c:pt idx="6">
                  <c:v>2.0070000000000001</c:v>
                </c:pt>
                <c:pt idx="7">
                  <c:v>1.4890000000000001</c:v>
                </c:pt>
                <c:pt idx="8">
                  <c:v>1.323</c:v>
                </c:pt>
                <c:pt idx="9">
                  <c:v>0.77200000000000002</c:v>
                </c:pt>
                <c:pt idx="10">
                  <c:v>0.63400000000000001</c:v>
                </c:pt>
                <c:pt idx="11">
                  <c:v>0.69899999999999995</c:v>
                </c:pt>
                <c:pt idx="12">
                  <c:v>0.63400000000000001</c:v>
                </c:pt>
                <c:pt idx="13">
                  <c:v>0.58799999999999997</c:v>
                </c:pt>
                <c:pt idx="14">
                  <c:v>0.60599999999999998</c:v>
                </c:pt>
                <c:pt idx="15">
                  <c:v>0.51</c:v>
                </c:pt>
                <c:pt idx="16">
                  <c:v>1.048</c:v>
                </c:pt>
                <c:pt idx="17">
                  <c:v>1.3779999999999999</c:v>
                </c:pt>
                <c:pt idx="18">
                  <c:v>1.6539999999999999</c:v>
                </c:pt>
                <c:pt idx="19">
                  <c:v>1.929</c:v>
                </c:pt>
                <c:pt idx="20">
                  <c:v>2.6640000000000001</c:v>
                </c:pt>
                <c:pt idx="21">
                  <c:v>3.6190000000000002</c:v>
                </c:pt>
                <c:pt idx="22">
                  <c:v>4.851</c:v>
                </c:pt>
                <c:pt idx="23">
                  <c:v>5.6219999999999999</c:v>
                </c:pt>
                <c:pt idx="24">
                  <c:v>6.2060000000000004</c:v>
                </c:pt>
                <c:pt idx="25">
                  <c:v>5.98</c:v>
                </c:pt>
                <c:pt idx="26">
                  <c:v>5.2919999999999998</c:v>
                </c:pt>
                <c:pt idx="27">
                  <c:v>5.3579999999999997</c:v>
                </c:pt>
                <c:pt idx="28">
                  <c:v>5.7880000000000003</c:v>
                </c:pt>
                <c:pt idx="29">
                  <c:v>6.4619999999999997</c:v>
                </c:pt>
                <c:pt idx="30">
                  <c:v>6.1070000000000002</c:v>
                </c:pt>
                <c:pt idx="31">
                  <c:v>5.484</c:v>
                </c:pt>
                <c:pt idx="32">
                  <c:v>5.2910000000000004</c:v>
                </c:pt>
                <c:pt idx="33">
                  <c:v>5.0990000000000002</c:v>
                </c:pt>
                <c:pt idx="34">
                  <c:v>5.1079999999999997</c:v>
                </c:pt>
                <c:pt idx="35">
                  <c:v>5.1260000000000003</c:v>
                </c:pt>
                <c:pt idx="36">
                  <c:v>5.2249999999999996</c:v>
                </c:pt>
                <c:pt idx="37">
                  <c:v>5.4290000000000003</c:v>
                </c:pt>
                <c:pt idx="38">
                  <c:v>5.6219999999999999</c:v>
                </c:pt>
                <c:pt idx="39">
                  <c:v>5.6219999999999999</c:v>
                </c:pt>
                <c:pt idx="40">
                  <c:v>5.6219999999999999</c:v>
                </c:pt>
                <c:pt idx="41">
                  <c:v>5.6</c:v>
                </c:pt>
                <c:pt idx="42">
                  <c:v>5.1260000000000003</c:v>
                </c:pt>
                <c:pt idx="43">
                  <c:v>4.7770000000000001</c:v>
                </c:pt>
                <c:pt idx="44">
                  <c:v>4.6020000000000003</c:v>
                </c:pt>
                <c:pt idx="45">
                  <c:v>4.4370000000000003</c:v>
                </c:pt>
                <c:pt idx="46">
                  <c:v>4.492</c:v>
                </c:pt>
                <c:pt idx="47">
                  <c:v>4.5199999999999996</c:v>
                </c:pt>
                <c:pt idx="48">
                  <c:v>4.4092000000000002</c:v>
                </c:pt>
                <c:pt idx="49">
                  <c:v>4.4919000000000002</c:v>
                </c:pt>
                <c:pt idx="50">
                  <c:v>4.2439</c:v>
                </c:pt>
                <c:pt idx="51">
                  <c:v>3.9407999999999999</c:v>
                </c:pt>
                <c:pt idx="52" formatCode="0.000">
                  <c:v>3.3731</c:v>
                </c:pt>
                <c:pt idx="53" formatCode="0.000">
                  <c:v>3.3069000000000002</c:v>
                </c:pt>
                <c:pt idx="54" formatCode="0.000">
                  <c:v>3.1966999999999999</c:v>
                </c:pt>
                <c:pt idx="55" formatCode="0.000">
                  <c:v>3.0865</c:v>
                </c:pt>
                <c:pt idx="56" formatCode="0.000">
                  <c:v>3.0865</c:v>
                </c:pt>
                <c:pt idx="57" formatCode="0.000">
                  <c:v>3.0865</c:v>
                </c:pt>
                <c:pt idx="58" formatCode="0.000">
                  <c:v>3.0865</c:v>
                </c:pt>
                <c:pt idx="59" formatCode="0.000">
                  <c:v>2.9651999999999998</c:v>
                </c:pt>
                <c:pt idx="60" formatCode="0.000">
                  <c:v>2.824669375</c:v>
                </c:pt>
                <c:pt idx="61" formatCode="0.000">
                  <c:v>2.6455440000000001</c:v>
                </c:pt>
                <c:pt idx="62" formatCode="0.000">
                  <c:v>2.5904284999999998</c:v>
                </c:pt>
                <c:pt idx="63" formatCode="0.000">
                  <c:v>2.5352999999999999</c:v>
                </c:pt>
                <c:pt idx="64" formatCode="0.000">
                  <c:v>2.5794000000000001</c:v>
                </c:pt>
                <c:pt idx="65" formatCode="0.000">
                  <c:v>2.6455000000000002</c:v>
                </c:pt>
                <c:pt idx="66" formatCode="0.000">
                  <c:v>2.6179999999999999</c:v>
                </c:pt>
                <c:pt idx="67" formatCode="0.000">
                  <c:v>2.5573999999999999</c:v>
                </c:pt>
                <c:pt idx="68" formatCode="0.000">
                  <c:v>2.5903999999999998</c:v>
                </c:pt>
                <c:pt idx="69" formatCode="0.000">
                  <c:v>2.7667999999999999</c:v>
                </c:pt>
                <c:pt idx="70" formatCode="0.000">
                  <c:v>3.1139999999999999</c:v>
                </c:pt>
                <c:pt idx="71" formatCode="0.000">
                  <c:v>3.1554000000000002</c:v>
                </c:pt>
                <c:pt idx="72" formatCode="0.000">
                  <c:v>3.238</c:v>
                </c:pt>
                <c:pt idx="73" formatCode="0.000">
                  <c:v>3.6265999999999998</c:v>
                </c:pt>
                <c:pt idx="74" formatCode="0.000">
                  <c:v>3.7892000000000001</c:v>
                </c:pt>
                <c:pt idx="75" formatCode="0.000">
                  <c:v>3.858085</c:v>
                </c:pt>
                <c:pt idx="76" formatCode="0.000">
                  <c:v>3.858085</c:v>
                </c:pt>
                <c:pt idx="77" formatCode="0.000">
                  <c:v>3.8718638749999998</c:v>
                </c:pt>
                <c:pt idx="78" formatCode="0.000">
                  <c:v>3.9132004999999999</c:v>
                </c:pt>
                <c:pt idx="79" formatCode="0.000">
                  <c:v>4.0234315</c:v>
                </c:pt>
                <c:pt idx="80" formatCode="0.000">
                  <c:v>4.0785470000000004</c:v>
                </c:pt>
                <c:pt idx="81" formatCode="0.000">
                  <c:v>4.0785</c:v>
                </c:pt>
                <c:pt idx="82" formatCode="0.000">
                  <c:v>4.1474000000000002</c:v>
                </c:pt>
                <c:pt idx="83" formatCode="0.000">
                  <c:v>4.2714999999999996</c:v>
                </c:pt>
                <c:pt idx="84" formatCode="0.000">
                  <c:v>4.2990000000000004</c:v>
                </c:pt>
                <c:pt idx="85" formatCode="0.000">
                  <c:v>4.2990000000000004</c:v>
                </c:pt>
                <c:pt idx="86" formatCode="0.000">
                  <c:v>4.5331999999999999</c:v>
                </c:pt>
                <c:pt idx="87" formatCode="0.000">
                  <c:v>4.7179000000000002</c:v>
                </c:pt>
                <c:pt idx="88" formatCode="0.000">
                  <c:v>4.7398999999999996</c:v>
                </c:pt>
                <c:pt idx="89" formatCode="0.000">
                  <c:v>4.7949999999999999</c:v>
                </c:pt>
                <c:pt idx="90" formatCode="0.000">
                  <c:v>4.7398999999999996</c:v>
                </c:pt>
                <c:pt idx="91" formatCode="0.000">
                  <c:v>4.5194999999999999</c:v>
                </c:pt>
                <c:pt idx="92" formatCode="0.000">
                  <c:v>4.3211000000000004</c:v>
                </c:pt>
                <c:pt idx="93" formatCode="0.000">
                  <c:v>3.7479</c:v>
                </c:pt>
                <c:pt idx="94" formatCode="0.000">
                  <c:v>3.6101000000000001</c:v>
                </c:pt>
                <c:pt idx="95" formatCode="0.000">
                  <c:v>3.2627999999999999</c:v>
                </c:pt>
                <c:pt idx="96" formatCode="0.000">
                  <c:v>2.6318000000000001</c:v>
                </c:pt>
                <c:pt idx="97" formatCode="0.000">
                  <c:v>2.2046000000000001</c:v>
                </c:pt>
                <c:pt idx="98" formatCode="0.000">
                  <c:v>2.0943999999999998</c:v>
                </c:pt>
                <c:pt idx="99" formatCode="0.000">
                  <c:v>1.9565999999999999</c:v>
                </c:pt>
                <c:pt idx="100" formatCode="0.000">
                  <c:v>1.7637</c:v>
                </c:pt>
                <c:pt idx="101" formatCode="0.000">
                  <c:v>1.5431999999999999</c:v>
                </c:pt>
                <c:pt idx="102" formatCode="0.000">
                  <c:v>1.4054</c:v>
                </c:pt>
                <c:pt idx="103" formatCode="0.000">
                  <c:v>1.1850000000000001</c:v>
                </c:pt>
                <c:pt idx="104" formatCode="0.000">
                  <c:v>1.2345999999999999</c:v>
                </c:pt>
                <c:pt idx="105" formatCode="0.000">
                  <c:v>1.6535</c:v>
                </c:pt>
                <c:pt idx="106" formatCode="0.000">
                  <c:v>1.8464</c:v>
                </c:pt>
                <c:pt idx="107" formatCode="0.000">
                  <c:v>2.1164000000000001</c:v>
                </c:pt>
                <c:pt idx="108" formatCode="0.000">
                  <c:v>2.2183999999999999</c:v>
                </c:pt>
                <c:pt idx="109" formatCode="0.000">
                  <c:v>2.1770999999999998</c:v>
                </c:pt>
                <c:pt idx="110" formatCode="0.000">
                  <c:v>2.2818000000000001</c:v>
                </c:pt>
                <c:pt idx="111" formatCode="0.000">
                  <c:v>2.4525999999999999</c:v>
                </c:pt>
                <c:pt idx="112" formatCode="0.000">
                  <c:v>2.5265</c:v>
                </c:pt>
                <c:pt idx="113" formatCode="0.000">
                  <c:v>2.6455000000000002</c:v>
                </c:pt>
                <c:pt idx="114" formatCode="0.000">
                  <c:v>2.6455000000000002</c:v>
                </c:pt>
                <c:pt idx="115" formatCode="0.000">
                  <c:v>2.6455000000000002</c:v>
                </c:pt>
                <c:pt idx="116" formatCode="0.000">
                  <c:v>2.7557999999999998</c:v>
                </c:pt>
                <c:pt idx="117" formatCode="0.000">
                  <c:v>2.7557999999999998</c:v>
                </c:pt>
                <c:pt idx="118" formatCode="0.000">
                  <c:v>2.7557999999999998</c:v>
                </c:pt>
                <c:pt idx="119" formatCode="0.000">
                  <c:v>2.7866</c:v>
                </c:pt>
                <c:pt idx="120" formatCode="0.000">
                  <c:v>2.7145000000000001</c:v>
                </c:pt>
                <c:pt idx="121" formatCode="0.000">
                  <c:v>2.6654</c:v>
                </c:pt>
                <c:pt idx="122" formatCode="0.000">
                  <c:v>2.5188000000000001</c:v>
                </c:pt>
                <c:pt idx="123" formatCode="0.000">
                  <c:v>2.3424</c:v>
                </c:pt>
                <c:pt idx="124" formatCode="0.000">
                  <c:v>2.1936</c:v>
                </c:pt>
                <c:pt idx="125" formatCode="0.000">
                  <c:v>2.2046000000000001</c:v>
                </c:pt>
                <c:pt idx="126" formatCode="0.000">
                  <c:v>2.3837999999999999</c:v>
                </c:pt>
                <c:pt idx="127" formatCode="0.000">
                  <c:v>2.3224999999999998</c:v>
                </c:pt>
                <c:pt idx="128" formatCode="0.000">
                  <c:v>2.2486999999999999</c:v>
                </c:pt>
                <c:pt idx="129" formatCode="0.000">
                  <c:v>2.3214999999999999</c:v>
                </c:pt>
                <c:pt idx="130" formatCode="0.000">
                  <c:v>2.246</c:v>
                </c:pt>
                <c:pt idx="131" formatCode="0.000">
                  <c:v>2.1909000000000001</c:v>
                </c:pt>
                <c:pt idx="132" formatCode="0.000">
                  <c:v>2.3479999999999999</c:v>
                </c:pt>
                <c:pt idx="133" formatCode="0.000">
                  <c:v>2.2046000000000001</c:v>
                </c:pt>
                <c:pt idx="134" formatCode="0.000">
                  <c:v>2.2597</c:v>
                </c:pt>
                <c:pt idx="135" formatCode="0.000">
                  <c:v>2.4527000000000001</c:v>
                </c:pt>
                <c:pt idx="136" formatCode="0.000">
                  <c:v>2.5573000000000001</c:v>
                </c:pt>
                <c:pt idx="137" formatCode="0.000">
                  <c:v>2.5352999999999999</c:v>
                </c:pt>
                <c:pt idx="138" formatCode="0.000">
                  <c:v>2.5352999999999999</c:v>
                </c:pt>
                <c:pt idx="139" formatCode="0.000">
                  <c:v>2.5352999999999999</c:v>
                </c:pt>
                <c:pt idx="140" formatCode="0.000">
                  <c:v>2.5352999999999999</c:v>
                </c:pt>
                <c:pt idx="141" formatCode="0.000">
                  <c:v>2.7006999999999999</c:v>
                </c:pt>
                <c:pt idx="142" formatCode="0.000">
                  <c:v>2.8384999999999998</c:v>
                </c:pt>
                <c:pt idx="143" formatCode="0.000">
                  <c:v>2.7282000000000002</c:v>
                </c:pt>
                <c:pt idx="144" formatCode="0.000">
                  <c:v>2.0503</c:v>
                </c:pt>
                <c:pt idx="145" formatCode="0.000">
                  <c:v>1.2125999999999999</c:v>
                </c:pt>
                <c:pt idx="146" formatCode="0.000">
                  <c:v>1.0334000000000001</c:v>
                </c:pt>
                <c:pt idx="147" formatCode="0.000">
                  <c:v>0.99209999999999998</c:v>
                </c:pt>
                <c:pt idx="148" formatCode="0.000">
                  <c:v>0.93700000000000006</c:v>
                </c:pt>
                <c:pt idx="149" formatCode="0.000">
                  <c:v>0.93700000000000006</c:v>
                </c:pt>
                <c:pt idx="150" formatCode="0.000">
                  <c:v>1.0471999999999999</c:v>
                </c:pt>
                <c:pt idx="151" formatCode="0.000">
                  <c:v>1.2951999999999999</c:v>
                </c:pt>
                <c:pt idx="152" formatCode="0.000">
                  <c:v>1.7526999999999999</c:v>
                </c:pt>
                <c:pt idx="153" formatCode="0.000">
                  <c:v>2.9487000000000001</c:v>
                </c:pt>
                <c:pt idx="154" formatCode="0.000">
                  <c:v>3.4034</c:v>
                </c:pt>
                <c:pt idx="155" formatCode="0.000">
                  <c:v>3.3896000000000002</c:v>
                </c:pt>
                <c:pt idx="156" formatCode="0.000">
                  <c:v>3.8029999999999999</c:v>
                </c:pt>
                <c:pt idx="157" formatCode="0.000">
                  <c:v>3.362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73B-4C82-94E3-622C968FEEC2}"/>
            </c:ext>
          </c:extLst>
        </c:ser>
        <c:ser>
          <c:idx val="3"/>
          <c:order val="3"/>
          <c:tx>
            <c:strRef>
              <c:f>Synthese!$E$4</c:f>
              <c:strCache>
                <c:ptCount val="1"/>
                <c:pt idx="0">
                  <c:v>FerroTi Scraps</c:v>
                </c:pt>
              </c:strCache>
            </c:strRef>
          </c:tx>
          <c:spPr>
            <a:ln>
              <a:solidFill>
                <a:srgbClr val="FA6414"/>
              </a:solidFill>
            </a:ln>
          </c:spPr>
          <c:marker>
            <c:symbol val="none"/>
          </c:marker>
          <c:cat>
            <c:numRef>
              <c:f>Synthese!$A$5:$A$198</c:f>
              <c:numCache>
                <c:formatCode>[$-409]mmm\-yy;@</c:formatCode>
                <c:ptCount val="158"/>
                <c:pt idx="0">
                  <c:v>39539</c:v>
                </c:pt>
                <c:pt idx="1">
                  <c:v>39569</c:v>
                </c:pt>
                <c:pt idx="2">
                  <c:v>39600</c:v>
                </c:pt>
                <c:pt idx="3">
                  <c:v>39630</c:v>
                </c:pt>
                <c:pt idx="4">
                  <c:v>39661</c:v>
                </c:pt>
                <c:pt idx="5">
                  <c:v>39692</c:v>
                </c:pt>
                <c:pt idx="6">
                  <c:v>39722</c:v>
                </c:pt>
                <c:pt idx="7">
                  <c:v>39753</c:v>
                </c:pt>
                <c:pt idx="8">
                  <c:v>39783</c:v>
                </c:pt>
                <c:pt idx="9">
                  <c:v>39814</c:v>
                </c:pt>
                <c:pt idx="10">
                  <c:v>39845</c:v>
                </c:pt>
                <c:pt idx="11">
                  <c:v>39873</c:v>
                </c:pt>
                <c:pt idx="12">
                  <c:v>39904</c:v>
                </c:pt>
                <c:pt idx="13">
                  <c:v>39934</c:v>
                </c:pt>
                <c:pt idx="14">
                  <c:v>39965</c:v>
                </c:pt>
                <c:pt idx="15">
                  <c:v>39995</c:v>
                </c:pt>
                <c:pt idx="16">
                  <c:v>40026</c:v>
                </c:pt>
                <c:pt idx="17">
                  <c:v>40057</c:v>
                </c:pt>
                <c:pt idx="18">
                  <c:v>40087</c:v>
                </c:pt>
                <c:pt idx="19">
                  <c:v>40118</c:v>
                </c:pt>
                <c:pt idx="20">
                  <c:v>40148</c:v>
                </c:pt>
                <c:pt idx="21">
                  <c:v>40179</c:v>
                </c:pt>
                <c:pt idx="22">
                  <c:v>40210</c:v>
                </c:pt>
                <c:pt idx="23">
                  <c:v>40238</c:v>
                </c:pt>
                <c:pt idx="24">
                  <c:v>40269</c:v>
                </c:pt>
                <c:pt idx="25">
                  <c:v>40299</c:v>
                </c:pt>
                <c:pt idx="26">
                  <c:v>40330</c:v>
                </c:pt>
                <c:pt idx="27">
                  <c:v>40360</c:v>
                </c:pt>
                <c:pt idx="28">
                  <c:v>40391</c:v>
                </c:pt>
                <c:pt idx="29">
                  <c:v>40422</c:v>
                </c:pt>
                <c:pt idx="30">
                  <c:v>40452</c:v>
                </c:pt>
                <c:pt idx="31">
                  <c:v>40483</c:v>
                </c:pt>
                <c:pt idx="32">
                  <c:v>40513</c:v>
                </c:pt>
                <c:pt idx="33">
                  <c:v>40544</c:v>
                </c:pt>
                <c:pt idx="34">
                  <c:v>40575</c:v>
                </c:pt>
                <c:pt idx="35">
                  <c:v>40603</c:v>
                </c:pt>
                <c:pt idx="36">
                  <c:v>40634</c:v>
                </c:pt>
                <c:pt idx="37">
                  <c:v>40664</c:v>
                </c:pt>
                <c:pt idx="38">
                  <c:v>40695</c:v>
                </c:pt>
                <c:pt idx="39">
                  <c:v>40725</c:v>
                </c:pt>
                <c:pt idx="40">
                  <c:v>40756</c:v>
                </c:pt>
                <c:pt idx="41">
                  <c:v>40787</c:v>
                </c:pt>
                <c:pt idx="42">
                  <c:v>40817</c:v>
                </c:pt>
                <c:pt idx="43">
                  <c:v>40848</c:v>
                </c:pt>
                <c:pt idx="44">
                  <c:v>40878</c:v>
                </c:pt>
                <c:pt idx="45">
                  <c:v>40909</c:v>
                </c:pt>
                <c:pt idx="46">
                  <c:v>40940</c:v>
                </c:pt>
                <c:pt idx="47">
                  <c:v>40969</c:v>
                </c:pt>
                <c:pt idx="48">
                  <c:v>41000</c:v>
                </c:pt>
                <c:pt idx="49">
                  <c:v>41030</c:v>
                </c:pt>
                <c:pt idx="50">
                  <c:v>41061</c:v>
                </c:pt>
                <c:pt idx="51">
                  <c:v>41091</c:v>
                </c:pt>
                <c:pt idx="52">
                  <c:v>41122</c:v>
                </c:pt>
                <c:pt idx="53">
                  <c:v>41153</c:v>
                </c:pt>
                <c:pt idx="54">
                  <c:v>41183</c:v>
                </c:pt>
                <c:pt idx="55">
                  <c:v>41214</c:v>
                </c:pt>
                <c:pt idx="56">
                  <c:v>41244</c:v>
                </c:pt>
                <c:pt idx="57">
                  <c:v>41275</c:v>
                </c:pt>
                <c:pt idx="58">
                  <c:v>41306</c:v>
                </c:pt>
                <c:pt idx="59">
                  <c:v>41334</c:v>
                </c:pt>
                <c:pt idx="60">
                  <c:v>41365</c:v>
                </c:pt>
                <c:pt idx="61">
                  <c:v>41395</c:v>
                </c:pt>
                <c:pt idx="62">
                  <c:v>41426</c:v>
                </c:pt>
                <c:pt idx="63">
                  <c:v>41456</c:v>
                </c:pt>
                <c:pt idx="64">
                  <c:v>41487</c:v>
                </c:pt>
                <c:pt idx="65">
                  <c:v>41518</c:v>
                </c:pt>
                <c:pt idx="66">
                  <c:v>41548</c:v>
                </c:pt>
                <c:pt idx="67">
                  <c:v>41579</c:v>
                </c:pt>
                <c:pt idx="68">
                  <c:v>41609</c:v>
                </c:pt>
                <c:pt idx="69">
                  <c:v>41640</c:v>
                </c:pt>
                <c:pt idx="70">
                  <c:v>41671</c:v>
                </c:pt>
                <c:pt idx="71">
                  <c:v>41699</c:v>
                </c:pt>
                <c:pt idx="72">
                  <c:v>41730</c:v>
                </c:pt>
                <c:pt idx="73">
                  <c:v>41760</c:v>
                </c:pt>
                <c:pt idx="74">
                  <c:v>41791</c:v>
                </c:pt>
                <c:pt idx="75">
                  <c:v>41821</c:v>
                </c:pt>
                <c:pt idx="76">
                  <c:v>41852</c:v>
                </c:pt>
                <c:pt idx="77">
                  <c:v>41883</c:v>
                </c:pt>
                <c:pt idx="78">
                  <c:v>41913</c:v>
                </c:pt>
                <c:pt idx="79">
                  <c:v>41944</c:v>
                </c:pt>
                <c:pt idx="80">
                  <c:v>41974</c:v>
                </c:pt>
                <c:pt idx="81">
                  <c:v>42005</c:v>
                </c:pt>
                <c:pt idx="82">
                  <c:v>42036</c:v>
                </c:pt>
                <c:pt idx="83">
                  <c:v>42064</c:v>
                </c:pt>
                <c:pt idx="84">
                  <c:v>42095</c:v>
                </c:pt>
                <c:pt idx="85">
                  <c:v>42125</c:v>
                </c:pt>
                <c:pt idx="86">
                  <c:v>42156</c:v>
                </c:pt>
                <c:pt idx="87">
                  <c:v>42186</c:v>
                </c:pt>
                <c:pt idx="88">
                  <c:v>42217</c:v>
                </c:pt>
                <c:pt idx="89">
                  <c:v>42248</c:v>
                </c:pt>
                <c:pt idx="90">
                  <c:v>42278</c:v>
                </c:pt>
                <c:pt idx="91">
                  <c:v>42309</c:v>
                </c:pt>
                <c:pt idx="92">
                  <c:v>42339</c:v>
                </c:pt>
                <c:pt idx="93">
                  <c:v>42370</c:v>
                </c:pt>
                <c:pt idx="94">
                  <c:v>42401</c:v>
                </c:pt>
                <c:pt idx="95">
                  <c:v>42430</c:v>
                </c:pt>
                <c:pt idx="96">
                  <c:v>42461</c:v>
                </c:pt>
                <c:pt idx="97">
                  <c:v>42491</c:v>
                </c:pt>
                <c:pt idx="98">
                  <c:v>42522</c:v>
                </c:pt>
                <c:pt idx="99">
                  <c:v>42552</c:v>
                </c:pt>
                <c:pt idx="100">
                  <c:v>42583</c:v>
                </c:pt>
                <c:pt idx="101">
                  <c:v>42614</c:v>
                </c:pt>
                <c:pt idx="102">
                  <c:v>42644</c:v>
                </c:pt>
                <c:pt idx="103">
                  <c:v>42675</c:v>
                </c:pt>
                <c:pt idx="104">
                  <c:v>42705</c:v>
                </c:pt>
                <c:pt idx="105">
                  <c:v>42736</c:v>
                </c:pt>
                <c:pt idx="106">
                  <c:v>42767</c:v>
                </c:pt>
                <c:pt idx="107">
                  <c:v>42795</c:v>
                </c:pt>
                <c:pt idx="108">
                  <c:v>42826</c:v>
                </c:pt>
                <c:pt idx="109">
                  <c:v>42856</c:v>
                </c:pt>
                <c:pt idx="110">
                  <c:v>42887</c:v>
                </c:pt>
                <c:pt idx="111">
                  <c:v>42917</c:v>
                </c:pt>
                <c:pt idx="112">
                  <c:v>42948</c:v>
                </c:pt>
                <c:pt idx="113">
                  <c:v>42979</c:v>
                </c:pt>
                <c:pt idx="114">
                  <c:v>43009</c:v>
                </c:pt>
                <c:pt idx="115">
                  <c:v>43040</c:v>
                </c:pt>
                <c:pt idx="116">
                  <c:v>43070</c:v>
                </c:pt>
                <c:pt idx="117">
                  <c:v>43101</c:v>
                </c:pt>
                <c:pt idx="118">
                  <c:v>43132</c:v>
                </c:pt>
                <c:pt idx="119">
                  <c:v>43160</c:v>
                </c:pt>
                <c:pt idx="120">
                  <c:v>43191</c:v>
                </c:pt>
                <c:pt idx="121">
                  <c:v>43221</c:v>
                </c:pt>
                <c:pt idx="122">
                  <c:v>43252</c:v>
                </c:pt>
                <c:pt idx="123">
                  <c:v>43282</c:v>
                </c:pt>
                <c:pt idx="124">
                  <c:v>43313</c:v>
                </c:pt>
                <c:pt idx="125">
                  <c:v>43344</c:v>
                </c:pt>
                <c:pt idx="126">
                  <c:v>43374</c:v>
                </c:pt>
                <c:pt idx="127">
                  <c:v>43405</c:v>
                </c:pt>
                <c:pt idx="128">
                  <c:v>43435</c:v>
                </c:pt>
                <c:pt idx="129">
                  <c:v>43466</c:v>
                </c:pt>
                <c:pt idx="130">
                  <c:v>43497</c:v>
                </c:pt>
                <c:pt idx="131">
                  <c:v>43525</c:v>
                </c:pt>
                <c:pt idx="132">
                  <c:v>43556</c:v>
                </c:pt>
                <c:pt idx="133">
                  <c:v>43586</c:v>
                </c:pt>
                <c:pt idx="134">
                  <c:v>43617</c:v>
                </c:pt>
                <c:pt idx="135">
                  <c:v>43647</c:v>
                </c:pt>
                <c:pt idx="136">
                  <c:v>43678</c:v>
                </c:pt>
                <c:pt idx="137">
                  <c:v>43709</c:v>
                </c:pt>
                <c:pt idx="138">
                  <c:v>43739</c:v>
                </c:pt>
                <c:pt idx="139">
                  <c:v>43770</c:v>
                </c:pt>
                <c:pt idx="140">
                  <c:v>43800</c:v>
                </c:pt>
                <c:pt idx="141">
                  <c:v>43831</c:v>
                </c:pt>
                <c:pt idx="142">
                  <c:v>43862</c:v>
                </c:pt>
                <c:pt idx="143">
                  <c:v>43891</c:v>
                </c:pt>
                <c:pt idx="144">
                  <c:v>43922</c:v>
                </c:pt>
                <c:pt idx="145">
                  <c:v>43952</c:v>
                </c:pt>
                <c:pt idx="146">
                  <c:v>43983</c:v>
                </c:pt>
                <c:pt idx="147">
                  <c:v>44013</c:v>
                </c:pt>
                <c:pt idx="148">
                  <c:v>44044</c:v>
                </c:pt>
                <c:pt idx="149">
                  <c:v>44075</c:v>
                </c:pt>
                <c:pt idx="150">
                  <c:v>44105</c:v>
                </c:pt>
                <c:pt idx="151">
                  <c:v>44136</c:v>
                </c:pt>
                <c:pt idx="152">
                  <c:v>44166</c:v>
                </c:pt>
                <c:pt idx="153">
                  <c:v>44197</c:v>
                </c:pt>
                <c:pt idx="154">
                  <c:v>44228</c:v>
                </c:pt>
                <c:pt idx="155">
                  <c:v>44256</c:v>
                </c:pt>
                <c:pt idx="156">
                  <c:v>44287</c:v>
                </c:pt>
                <c:pt idx="157">
                  <c:v>44317</c:v>
                </c:pt>
              </c:numCache>
            </c:numRef>
          </c:cat>
          <c:val>
            <c:numRef>
              <c:f>Synthese!$E$5:$E$198</c:f>
              <c:numCache>
                <c:formatCode>General</c:formatCode>
                <c:ptCount val="158"/>
                <c:pt idx="0">
                  <c:v>3.3439999999999999</c:v>
                </c:pt>
                <c:pt idx="1">
                  <c:v>3.4169999999999998</c:v>
                </c:pt>
                <c:pt idx="2">
                  <c:v>3.16</c:v>
                </c:pt>
                <c:pt idx="3">
                  <c:v>2.9769999999999999</c:v>
                </c:pt>
                <c:pt idx="4">
                  <c:v>2.7559999999999998</c:v>
                </c:pt>
                <c:pt idx="5">
                  <c:v>2.7010000000000001</c:v>
                </c:pt>
                <c:pt idx="6">
                  <c:v>1.389</c:v>
                </c:pt>
                <c:pt idx="7">
                  <c:v>0.88200000000000001</c:v>
                </c:pt>
                <c:pt idx="8">
                  <c:v>0.71699999999999997</c:v>
                </c:pt>
                <c:pt idx="9">
                  <c:v>0.496</c:v>
                </c:pt>
                <c:pt idx="10">
                  <c:v>0.28100000000000003</c:v>
                </c:pt>
                <c:pt idx="11">
                  <c:v>0.26100000000000001</c:v>
                </c:pt>
                <c:pt idx="12">
                  <c:v>0.25900000000000001</c:v>
                </c:pt>
                <c:pt idx="13">
                  <c:v>0.312</c:v>
                </c:pt>
                <c:pt idx="14">
                  <c:v>0.312</c:v>
                </c:pt>
                <c:pt idx="15">
                  <c:v>0.36399999999999999</c:v>
                </c:pt>
                <c:pt idx="16">
                  <c:v>0.93700000000000006</c:v>
                </c:pt>
                <c:pt idx="17">
                  <c:v>1.2130000000000001</c:v>
                </c:pt>
                <c:pt idx="18">
                  <c:v>1.1579999999999999</c:v>
                </c:pt>
                <c:pt idx="19">
                  <c:v>1.2130000000000001</c:v>
                </c:pt>
                <c:pt idx="20">
                  <c:v>1.452</c:v>
                </c:pt>
                <c:pt idx="21">
                  <c:v>2.0390000000000001</c:v>
                </c:pt>
                <c:pt idx="22">
                  <c:v>3.0590000000000002</c:v>
                </c:pt>
                <c:pt idx="23">
                  <c:v>4.0789999999999997</c:v>
                </c:pt>
                <c:pt idx="24">
                  <c:v>4.2880000000000003</c:v>
                </c:pt>
                <c:pt idx="25">
                  <c:v>3.3759999999999999</c:v>
                </c:pt>
                <c:pt idx="26">
                  <c:v>2.37</c:v>
                </c:pt>
                <c:pt idx="27">
                  <c:v>2.2050000000000001</c:v>
                </c:pt>
                <c:pt idx="28">
                  <c:v>2.7930000000000001</c:v>
                </c:pt>
                <c:pt idx="29">
                  <c:v>3.1419999999999999</c:v>
                </c:pt>
                <c:pt idx="30">
                  <c:v>3.1749999999999998</c:v>
                </c:pt>
                <c:pt idx="31">
                  <c:v>3.1230000000000002</c:v>
                </c:pt>
                <c:pt idx="32">
                  <c:v>3.3730000000000002</c:v>
                </c:pt>
                <c:pt idx="33">
                  <c:v>3.5830000000000002</c:v>
                </c:pt>
                <c:pt idx="34">
                  <c:v>3.895</c:v>
                </c:pt>
                <c:pt idx="35">
                  <c:v>4.0510000000000002</c:v>
                </c:pt>
                <c:pt idx="36">
                  <c:v>4.101</c:v>
                </c:pt>
                <c:pt idx="37">
                  <c:v>4.2990000000000004</c:v>
                </c:pt>
                <c:pt idx="38">
                  <c:v>4.63</c:v>
                </c:pt>
                <c:pt idx="39">
                  <c:v>4.9880000000000004</c:v>
                </c:pt>
                <c:pt idx="40">
                  <c:v>5.1079999999999997</c:v>
                </c:pt>
                <c:pt idx="41">
                  <c:v>4.7619999999999996</c:v>
                </c:pt>
                <c:pt idx="42">
                  <c:v>4.0510000000000002</c:v>
                </c:pt>
                <c:pt idx="43">
                  <c:v>3.3809999999999998</c:v>
                </c:pt>
                <c:pt idx="44">
                  <c:v>3.3069999999999999</c:v>
                </c:pt>
                <c:pt idx="45">
                  <c:v>3.3069999999999999</c:v>
                </c:pt>
                <c:pt idx="46">
                  <c:v>3.528</c:v>
                </c:pt>
                <c:pt idx="47">
                  <c:v>3.4609999999999999</c:v>
                </c:pt>
                <c:pt idx="48">
                  <c:v>3.3344999999999998</c:v>
                </c:pt>
                <c:pt idx="49">
                  <c:v>3.2242999999999999</c:v>
                </c:pt>
                <c:pt idx="50">
                  <c:v>3.0203000000000002</c:v>
                </c:pt>
                <c:pt idx="51">
                  <c:v>2.7833000000000001</c:v>
                </c:pt>
                <c:pt idx="52" formatCode="0.000">
                  <c:v>2.7227000000000001</c:v>
                </c:pt>
                <c:pt idx="53" formatCode="0.000">
                  <c:v>2.7833000000000001</c:v>
                </c:pt>
                <c:pt idx="54" formatCode="0.000">
                  <c:v>2.7006999999999999</c:v>
                </c:pt>
                <c:pt idx="55" formatCode="0.000">
                  <c:v>2.5794000000000001</c:v>
                </c:pt>
                <c:pt idx="56" formatCode="0.000">
                  <c:v>2.7282000000000002</c:v>
                </c:pt>
                <c:pt idx="57" formatCode="0.000">
                  <c:v>2.7006999999999999</c:v>
                </c:pt>
                <c:pt idx="58" formatCode="0.000">
                  <c:v>2.7006999999999999</c:v>
                </c:pt>
                <c:pt idx="59" formatCode="0.000">
                  <c:v>2.6785999999999999</c:v>
                </c:pt>
                <c:pt idx="60" formatCode="0.000">
                  <c:v>2.4526397499999999</c:v>
                </c:pt>
                <c:pt idx="61" formatCode="0.000">
                  <c:v>2.2266661999999999</c:v>
                </c:pt>
                <c:pt idx="62" formatCode="0.000">
                  <c:v>2.1495044999999999</c:v>
                </c:pt>
                <c:pt idx="63" formatCode="0.000">
                  <c:v>2.0255000000000001</c:v>
                </c:pt>
                <c:pt idx="64" formatCode="0.000">
                  <c:v>1.9952000000000001</c:v>
                </c:pt>
                <c:pt idx="65" formatCode="0.000">
                  <c:v>2.0531000000000001</c:v>
                </c:pt>
                <c:pt idx="66" formatCode="0.000">
                  <c:v>2.1082000000000001</c:v>
                </c:pt>
                <c:pt idx="67" formatCode="0.000">
                  <c:v>2.0943999999999998</c:v>
                </c:pt>
                <c:pt idx="68" formatCode="0.000">
                  <c:v>2.1219000000000001</c:v>
                </c:pt>
                <c:pt idx="69" formatCode="0.000">
                  <c:v>2.2046000000000001</c:v>
                </c:pt>
                <c:pt idx="70" formatCode="0.000">
                  <c:v>2.4388999999999998</c:v>
                </c:pt>
                <c:pt idx="71" formatCode="0.000">
                  <c:v>2.4802</c:v>
                </c:pt>
                <c:pt idx="72" formatCode="0.000">
                  <c:v>2.4940000000000002</c:v>
                </c:pt>
                <c:pt idx="73" formatCode="0.000">
                  <c:v>2.5352999999999999</c:v>
                </c:pt>
                <c:pt idx="74" formatCode="0.000">
                  <c:v>2.5352999999999999</c:v>
                </c:pt>
                <c:pt idx="75" formatCode="0.000">
                  <c:v>2.4939763749999999</c:v>
                </c:pt>
                <c:pt idx="76" formatCode="0.000">
                  <c:v>2.4581512999999999</c:v>
                </c:pt>
                <c:pt idx="77" formatCode="0.000">
                  <c:v>2.4250820000000002</c:v>
                </c:pt>
                <c:pt idx="78" formatCode="0.000">
                  <c:v>2.2597355000000001</c:v>
                </c:pt>
                <c:pt idx="79" formatCode="0.000">
                  <c:v>2.1495044999999999</c:v>
                </c:pt>
                <c:pt idx="80" formatCode="0.000">
                  <c:v>2.0943890000000001</c:v>
                </c:pt>
                <c:pt idx="81" formatCode="0.000">
                  <c:v>2.0834000000000001</c:v>
                </c:pt>
                <c:pt idx="82" formatCode="0.000">
                  <c:v>1.8738999999999999</c:v>
                </c:pt>
                <c:pt idx="83" formatCode="0.000">
                  <c:v>1.8738999999999999</c:v>
                </c:pt>
                <c:pt idx="84" formatCode="0.000">
                  <c:v>1.8739269999999999</c:v>
                </c:pt>
                <c:pt idx="85" formatCode="0.000">
                  <c:v>1.5652999999999999</c:v>
                </c:pt>
                <c:pt idx="86" formatCode="0.000">
                  <c:v>1.2677</c:v>
                </c:pt>
                <c:pt idx="87" formatCode="0.000">
                  <c:v>1.2345999999999999</c:v>
                </c:pt>
                <c:pt idx="88" formatCode="0.000">
                  <c:v>1.1988000000000001</c:v>
                </c:pt>
                <c:pt idx="89" formatCode="0.000">
                  <c:v>1.0471999999999999</c:v>
                </c:pt>
                <c:pt idx="90" formatCode="0.000">
                  <c:v>0.91490000000000005</c:v>
                </c:pt>
                <c:pt idx="91" formatCode="0.000">
                  <c:v>0.74409999999999998</c:v>
                </c:pt>
                <c:pt idx="92" formatCode="0.000">
                  <c:v>0.61729999999999996</c:v>
                </c:pt>
                <c:pt idx="93" formatCode="0.000">
                  <c:v>0.55120000000000002</c:v>
                </c:pt>
                <c:pt idx="94" formatCode="0.000">
                  <c:v>0.55120000000000002</c:v>
                </c:pt>
                <c:pt idx="95" formatCode="0.000">
                  <c:v>0.55120000000000002</c:v>
                </c:pt>
                <c:pt idx="96" formatCode="0.000">
                  <c:v>0.55120000000000002</c:v>
                </c:pt>
                <c:pt idx="97" formatCode="0.000">
                  <c:v>0.60629999999999995</c:v>
                </c:pt>
                <c:pt idx="98" formatCode="0.000">
                  <c:v>0.72750000000000004</c:v>
                </c:pt>
                <c:pt idx="99" formatCode="0.000">
                  <c:v>0.74409999999999998</c:v>
                </c:pt>
                <c:pt idx="100" formatCode="0.000">
                  <c:v>0.74409999999999998</c:v>
                </c:pt>
                <c:pt idx="101" formatCode="0.000">
                  <c:v>0.59519999999999995</c:v>
                </c:pt>
                <c:pt idx="102" formatCode="0.000">
                  <c:v>0.59250000000000003</c:v>
                </c:pt>
                <c:pt idx="103" formatCode="0.000">
                  <c:v>0.48230000000000001</c:v>
                </c:pt>
                <c:pt idx="104" formatCode="0.000">
                  <c:v>0.4299</c:v>
                </c:pt>
                <c:pt idx="105" formatCode="0.000">
                  <c:v>0.63380000000000003</c:v>
                </c:pt>
                <c:pt idx="106" formatCode="0.000">
                  <c:v>0.77710000000000001</c:v>
                </c:pt>
                <c:pt idx="107" formatCode="0.000">
                  <c:v>0.8488</c:v>
                </c:pt>
                <c:pt idx="108" formatCode="0.000">
                  <c:v>0.89559999999999995</c:v>
                </c:pt>
                <c:pt idx="109" formatCode="0.000">
                  <c:v>0.96450000000000002</c:v>
                </c:pt>
                <c:pt idx="110" formatCode="0.000">
                  <c:v>1.0250999999999999</c:v>
                </c:pt>
                <c:pt idx="111" formatCode="0.000">
                  <c:v>0.93700000000000006</c:v>
                </c:pt>
                <c:pt idx="112" formatCode="0.000">
                  <c:v>0.90610000000000002</c:v>
                </c:pt>
                <c:pt idx="113" formatCode="0.000">
                  <c:v>1.1574</c:v>
                </c:pt>
                <c:pt idx="114" formatCode="0.000">
                  <c:v>1.3338000000000001</c:v>
                </c:pt>
                <c:pt idx="115" formatCode="0.000">
                  <c:v>1.2677</c:v>
                </c:pt>
                <c:pt idx="116" formatCode="0.000">
                  <c:v>1.3117000000000001</c:v>
                </c:pt>
                <c:pt idx="117" formatCode="0.000">
                  <c:v>1.2456</c:v>
                </c:pt>
                <c:pt idx="118" formatCode="0.000">
                  <c:v>1.1794</c:v>
                </c:pt>
                <c:pt idx="119" formatCode="0.000">
                  <c:v>1.1508</c:v>
                </c:pt>
                <c:pt idx="120" formatCode="0.000">
                  <c:v>1.1077999999999999</c:v>
                </c:pt>
                <c:pt idx="121" formatCode="0.000">
                  <c:v>1.056</c:v>
                </c:pt>
                <c:pt idx="122" formatCode="0.000">
                  <c:v>1.1409</c:v>
                </c:pt>
                <c:pt idx="123" formatCode="0.000">
                  <c:v>1.1574</c:v>
                </c:pt>
                <c:pt idx="124" formatCode="0.000">
                  <c:v>1.1574</c:v>
                </c:pt>
                <c:pt idx="125" formatCode="0.000">
                  <c:v>1.1629</c:v>
                </c:pt>
                <c:pt idx="126" formatCode="0.000">
                  <c:v>1.1354</c:v>
                </c:pt>
                <c:pt idx="127" formatCode="0.000">
                  <c:v>1.1133</c:v>
                </c:pt>
                <c:pt idx="128" formatCode="0.000">
                  <c:v>1.0250999999999999</c:v>
                </c:pt>
                <c:pt idx="129" formatCode="0.000">
                  <c:v>1.0626</c:v>
                </c:pt>
                <c:pt idx="130" formatCode="0.000">
                  <c:v>1.0306999999999999</c:v>
                </c:pt>
                <c:pt idx="131" formatCode="0.000">
                  <c:v>1.0885</c:v>
                </c:pt>
                <c:pt idx="132" formatCode="0.000">
                  <c:v>1.1518999999999999</c:v>
                </c:pt>
                <c:pt idx="133" formatCode="0.000">
                  <c:v>0</c:v>
                </c:pt>
                <c:pt idx="134" formatCode="0.000">
                  <c:v>1.1023000000000001</c:v>
                </c:pt>
                <c:pt idx="135" formatCode="0.000">
                  <c:v>1.0609999999999999</c:v>
                </c:pt>
                <c:pt idx="136" formatCode="0.000">
                  <c:v>1.0471999999999999</c:v>
                </c:pt>
                <c:pt idx="137" formatCode="0.000">
                  <c:v>1.0471999999999999</c:v>
                </c:pt>
                <c:pt idx="138" formatCode="0.000">
                  <c:v>1.0471999999999999</c:v>
                </c:pt>
                <c:pt idx="139" formatCode="0.000">
                  <c:v>0.97009999999999996</c:v>
                </c:pt>
                <c:pt idx="140" formatCode="0.000">
                  <c:v>0.93700000000000006</c:v>
                </c:pt>
                <c:pt idx="141" formatCode="0.000">
                  <c:v>0.90610000000000002</c:v>
                </c:pt>
                <c:pt idx="142" formatCode="0.000">
                  <c:v>0.7248</c:v>
                </c:pt>
                <c:pt idx="143" formatCode="0.000">
                  <c:v>0.70550000000000002</c:v>
                </c:pt>
                <c:pt idx="144" formatCode="0.000">
                  <c:v>0.63929999999999998</c:v>
                </c:pt>
                <c:pt idx="145" formatCode="0.000">
                  <c:v>0.66139999999999999</c:v>
                </c:pt>
                <c:pt idx="146" formatCode="0.000">
                  <c:v>0.60629999999999995</c:v>
                </c:pt>
                <c:pt idx="147" formatCode="0.000">
                  <c:v>0.50700000000000001</c:v>
                </c:pt>
                <c:pt idx="148" formatCode="0.000">
                  <c:v>0.496</c:v>
                </c:pt>
                <c:pt idx="149" formatCode="0.000">
                  <c:v>0.496</c:v>
                </c:pt>
                <c:pt idx="150" formatCode="0.000">
                  <c:v>0.81569999999999998</c:v>
                </c:pt>
                <c:pt idx="151" formatCode="0.000">
                  <c:v>1.2401</c:v>
                </c:pt>
                <c:pt idx="152" formatCode="0.000">
                  <c:v>1.7283999999999999</c:v>
                </c:pt>
                <c:pt idx="153" formatCode="0.000">
                  <c:v>2.5078</c:v>
                </c:pt>
                <c:pt idx="154" formatCode="0.000">
                  <c:v>2.7833000000000001</c:v>
                </c:pt>
                <c:pt idx="155" formatCode="0.000">
                  <c:v>3.3759000000000001</c:v>
                </c:pt>
                <c:pt idx="156" formatCode="0.000">
                  <c:v>3.0424000000000002</c:v>
                </c:pt>
                <c:pt idx="157" formatCode="0.000">
                  <c:v>2.866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73B-4C82-94E3-622C968FEEC2}"/>
            </c:ext>
          </c:extLst>
        </c:ser>
        <c:ser>
          <c:idx val="5"/>
          <c:order val="4"/>
          <c:tx>
            <c:strRef>
              <c:f>Synthese!$G$4</c:f>
              <c:strCache>
                <c:ptCount val="1"/>
                <c:pt idx="0">
                  <c:v>Sponges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none"/>
          </c:marker>
          <c:cat>
            <c:numRef>
              <c:f>Synthese!$A$5:$A$198</c:f>
              <c:numCache>
                <c:formatCode>[$-409]mmm\-yy;@</c:formatCode>
                <c:ptCount val="158"/>
                <c:pt idx="0">
                  <c:v>39539</c:v>
                </c:pt>
                <c:pt idx="1">
                  <c:v>39569</c:v>
                </c:pt>
                <c:pt idx="2">
                  <c:v>39600</c:v>
                </c:pt>
                <c:pt idx="3">
                  <c:v>39630</c:v>
                </c:pt>
                <c:pt idx="4">
                  <c:v>39661</c:v>
                </c:pt>
                <c:pt idx="5">
                  <c:v>39692</c:v>
                </c:pt>
                <c:pt idx="6">
                  <c:v>39722</c:v>
                </c:pt>
                <c:pt idx="7">
                  <c:v>39753</c:v>
                </c:pt>
                <c:pt idx="8">
                  <c:v>39783</c:v>
                </c:pt>
                <c:pt idx="9">
                  <c:v>39814</c:v>
                </c:pt>
                <c:pt idx="10">
                  <c:v>39845</c:v>
                </c:pt>
                <c:pt idx="11">
                  <c:v>39873</c:v>
                </c:pt>
                <c:pt idx="12">
                  <c:v>39904</c:v>
                </c:pt>
                <c:pt idx="13">
                  <c:v>39934</c:v>
                </c:pt>
                <c:pt idx="14">
                  <c:v>39965</c:v>
                </c:pt>
                <c:pt idx="15">
                  <c:v>39995</c:v>
                </c:pt>
                <c:pt idx="16">
                  <c:v>40026</c:v>
                </c:pt>
                <c:pt idx="17">
                  <c:v>40057</c:v>
                </c:pt>
                <c:pt idx="18">
                  <c:v>40087</c:v>
                </c:pt>
                <c:pt idx="19">
                  <c:v>40118</c:v>
                </c:pt>
                <c:pt idx="20">
                  <c:v>40148</c:v>
                </c:pt>
                <c:pt idx="21">
                  <c:v>40179</c:v>
                </c:pt>
                <c:pt idx="22">
                  <c:v>40210</c:v>
                </c:pt>
                <c:pt idx="23">
                  <c:v>40238</c:v>
                </c:pt>
                <c:pt idx="24">
                  <c:v>40269</c:v>
                </c:pt>
                <c:pt idx="25">
                  <c:v>40299</c:v>
                </c:pt>
                <c:pt idx="26">
                  <c:v>40330</c:v>
                </c:pt>
                <c:pt idx="27">
                  <c:v>40360</c:v>
                </c:pt>
                <c:pt idx="28">
                  <c:v>40391</c:v>
                </c:pt>
                <c:pt idx="29">
                  <c:v>40422</c:v>
                </c:pt>
                <c:pt idx="30">
                  <c:v>40452</c:v>
                </c:pt>
                <c:pt idx="31">
                  <c:v>40483</c:v>
                </c:pt>
                <c:pt idx="32">
                  <c:v>40513</c:v>
                </c:pt>
                <c:pt idx="33">
                  <c:v>40544</c:v>
                </c:pt>
                <c:pt idx="34">
                  <c:v>40575</c:v>
                </c:pt>
                <c:pt idx="35">
                  <c:v>40603</c:v>
                </c:pt>
                <c:pt idx="36">
                  <c:v>40634</c:v>
                </c:pt>
                <c:pt idx="37">
                  <c:v>40664</c:v>
                </c:pt>
                <c:pt idx="38">
                  <c:v>40695</c:v>
                </c:pt>
                <c:pt idx="39">
                  <c:v>40725</c:v>
                </c:pt>
                <c:pt idx="40">
                  <c:v>40756</c:v>
                </c:pt>
                <c:pt idx="41">
                  <c:v>40787</c:v>
                </c:pt>
                <c:pt idx="42">
                  <c:v>40817</c:v>
                </c:pt>
                <c:pt idx="43">
                  <c:v>40848</c:v>
                </c:pt>
                <c:pt idx="44">
                  <c:v>40878</c:v>
                </c:pt>
                <c:pt idx="45">
                  <c:v>40909</c:v>
                </c:pt>
                <c:pt idx="46">
                  <c:v>40940</c:v>
                </c:pt>
                <c:pt idx="47">
                  <c:v>40969</c:v>
                </c:pt>
                <c:pt idx="48">
                  <c:v>41000</c:v>
                </c:pt>
                <c:pt idx="49">
                  <c:v>41030</c:v>
                </c:pt>
                <c:pt idx="50">
                  <c:v>41061</c:v>
                </c:pt>
                <c:pt idx="51">
                  <c:v>41091</c:v>
                </c:pt>
                <c:pt idx="52">
                  <c:v>41122</c:v>
                </c:pt>
                <c:pt idx="53">
                  <c:v>41153</c:v>
                </c:pt>
                <c:pt idx="54">
                  <c:v>41183</c:v>
                </c:pt>
                <c:pt idx="55">
                  <c:v>41214</c:v>
                </c:pt>
                <c:pt idx="56">
                  <c:v>41244</c:v>
                </c:pt>
                <c:pt idx="57">
                  <c:v>41275</c:v>
                </c:pt>
                <c:pt idx="58">
                  <c:v>41306</c:v>
                </c:pt>
                <c:pt idx="59">
                  <c:v>41334</c:v>
                </c:pt>
                <c:pt idx="60">
                  <c:v>41365</c:v>
                </c:pt>
                <c:pt idx="61">
                  <c:v>41395</c:v>
                </c:pt>
                <c:pt idx="62">
                  <c:v>41426</c:v>
                </c:pt>
                <c:pt idx="63">
                  <c:v>41456</c:v>
                </c:pt>
                <c:pt idx="64">
                  <c:v>41487</c:v>
                </c:pt>
                <c:pt idx="65">
                  <c:v>41518</c:v>
                </c:pt>
                <c:pt idx="66">
                  <c:v>41548</c:v>
                </c:pt>
                <c:pt idx="67">
                  <c:v>41579</c:v>
                </c:pt>
                <c:pt idx="68">
                  <c:v>41609</c:v>
                </c:pt>
                <c:pt idx="69">
                  <c:v>41640</c:v>
                </c:pt>
                <c:pt idx="70">
                  <c:v>41671</c:v>
                </c:pt>
                <c:pt idx="71">
                  <c:v>41699</c:v>
                </c:pt>
                <c:pt idx="72">
                  <c:v>41730</c:v>
                </c:pt>
                <c:pt idx="73">
                  <c:v>41760</c:v>
                </c:pt>
                <c:pt idx="74">
                  <c:v>41791</c:v>
                </c:pt>
                <c:pt idx="75">
                  <c:v>41821</c:v>
                </c:pt>
                <c:pt idx="76">
                  <c:v>41852</c:v>
                </c:pt>
                <c:pt idx="77">
                  <c:v>41883</c:v>
                </c:pt>
                <c:pt idx="78">
                  <c:v>41913</c:v>
                </c:pt>
                <c:pt idx="79">
                  <c:v>41944</c:v>
                </c:pt>
                <c:pt idx="80">
                  <c:v>41974</c:v>
                </c:pt>
                <c:pt idx="81">
                  <c:v>42005</c:v>
                </c:pt>
                <c:pt idx="82">
                  <c:v>42036</c:v>
                </c:pt>
                <c:pt idx="83">
                  <c:v>42064</c:v>
                </c:pt>
                <c:pt idx="84">
                  <c:v>42095</c:v>
                </c:pt>
                <c:pt idx="85">
                  <c:v>42125</c:v>
                </c:pt>
                <c:pt idx="86">
                  <c:v>42156</c:v>
                </c:pt>
                <c:pt idx="87">
                  <c:v>42186</c:v>
                </c:pt>
                <c:pt idx="88">
                  <c:v>42217</c:v>
                </c:pt>
                <c:pt idx="89">
                  <c:v>42248</c:v>
                </c:pt>
                <c:pt idx="90">
                  <c:v>42278</c:v>
                </c:pt>
                <c:pt idx="91">
                  <c:v>42309</c:v>
                </c:pt>
                <c:pt idx="92">
                  <c:v>42339</c:v>
                </c:pt>
                <c:pt idx="93">
                  <c:v>42370</c:v>
                </c:pt>
                <c:pt idx="94">
                  <c:v>42401</c:v>
                </c:pt>
                <c:pt idx="95">
                  <c:v>42430</c:v>
                </c:pt>
                <c:pt idx="96">
                  <c:v>42461</c:v>
                </c:pt>
                <c:pt idx="97">
                  <c:v>42491</c:v>
                </c:pt>
                <c:pt idx="98">
                  <c:v>42522</c:v>
                </c:pt>
                <c:pt idx="99">
                  <c:v>42552</c:v>
                </c:pt>
                <c:pt idx="100">
                  <c:v>42583</c:v>
                </c:pt>
                <c:pt idx="101">
                  <c:v>42614</c:v>
                </c:pt>
                <c:pt idx="102">
                  <c:v>42644</c:v>
                </c:pt>
                <c:pt idx="103">
                  <c:v>42675</c:v>
                </c:pt>
                <c:pt idx="104">
                  <c:v>42705</c:v>
                </c:pt>
                <c:pt idx="105">
                  <c:v>42736</c:v>
                </c:pt>
                <c:pt idx="106">
                  <c:v>42767</c:v>
                </c:pt>
                <c:pt idx="107">
                  <c:v>42795</c:v>
                </c:pt>
                <c:pt idx="108">
                  <c:v>42826</c:v>
                </c:pt>
                <c:pt idx="109">
                  <c:v>42856</c:v>
                </c:pt>
                <c:pt idx="110">
                  <c:v>42887</c:v>
                </c:pt>
                <c:pt idx="111">
                  <c:v>42917</c:v>
                </c:pt>
                <c:pt idx="112">
                  <c:v>42948</c:v>
                </c:pt>
                <c:pt idx="113">
                  <c:v>42979</c:v>
                </c:pt>
                <c:pt idx="114">
                  <c:v>43009</c:v>
                </c:pt>
                <c:pt idx="115">
                  <c:v>43040</c:v>
                </c:pt>
                <c:pt idx="116">
                  <c:v>43070</c:v>
                </c:pt>
                <c:pt idx="117">
                  <c:v>43101</c:v>
                </c:pt>
                <c:pt idx="118">
                  <c:v>43132</c:v>
                </c:pt>
                <c:pt idx="119">
                  <c:v>43160</c:v>
                </c:pt>
                <c:pt idx="120">
                  <c:v>43191</c:v>
                </c:pt>
                <c:pt idx="121">
                  <c:v>43221</c:v>
                </c:pt>
                <c:pt idx="122">
                  <c:v>43252</c:v>
                </c:pt>
                <c:pt idx="123">
                  <c:v>43282</c:v>
                </c:pt>
                <c:pt idx="124">
                  <c:v>43313</c:v>
                </c:pt>
                <c:pt idx="125">
                  <c:v>43344</c:v>
                </c:pt>
                <c:pt idx="126">
                  <c:v>43374</c:v>
                </c:pt>
                <c:pt idx="127">
                  <c:v>43405</c:v>
                </c:pt>
                <c:pt idx="128">
                  <c:v>43435</c:v>
                </c:pt>
                <c:pt idx="129">
                  <c:v>43466</c:v>
                </c:pt>
                <c:pt idx="130">
                  <c:v>43497</c:v>
                </c:pt>
                <c:pt idx="131">
                  <c:v>43525</c:v>
                </c:pt>
                <c:pt idx="132">
                  <c:v>43556</c:v>
                </c:pt>
                <c:pt idx="133">
                  <c:v>43586</c:v>
                </c:pt>
                <c:pt idx="134">
                  <c:v>43617</c:v>
                </c:pt>
                <c:pt idx="135">
                  <c:v>43647</c:v>
                </c:pt>
                <c:pt idx="136">
                  <c:v>43678</c:v>
                </c:pt>
                <c:pt idx="137">
                  <c:v>43709</c:v>
                </c:pt>
                <c:pt idx="138">
                  <c:v>43739</c:v>
                </c:pt>
                <c:pt idx="139">
                  <c:v>43770</c:v>
                </c:pt>
                <c:pt idx="140">
                  <c:v>43800</c:v>
                </c:pt>
                <c:pt idx="141">
                  <c:v>43831</c:v>
                </c:pt>
                <c:pt idx="142">
                  <c:v>43862</c:v>
                </c:pt>
                <c:pt idx="143">
                  <c:v>43891</c:v>
                </c:pt>
                <c:pt idx="144">
                  <c:v>43922</c:v>
                </c:pt>
                <c:pt idx="145">
                  <c:v>43952</c:v>
                </c:pt>
                <c:pt idx="146">
                  <c:v>43983</c:v>
                </c:pt>
                <c:pt idx="147">
                  <c:v>44013</c:v>
                </c:pt>
                <c:pt idx="148">
                  <c:v>44044</c:v>
                </c:pt>
                <c:pt idx="149">
                  <c:v>44075</c:v>
                </c:pt>
                <c:pt idx="150">
                  <c:v>44105</c:v>
                </c:pt>
                <c:pt idx="151">
                  <c:v>44136</c:v>
                </c:pt>
                <c:pt idx="152">
                  <c:v>44166</c:v>
                </c:pt>
                <c:pt idx="153">
                  <c:v>44197</c:v>
                </c:pt>
                <c:pt idx="154">
                  <c:v>44228</c:v>
                </c:pt>
                <c:pt idx="155">
                  <c:v>44256</c:v>
                </c:pt>
                <c:pt idx="156">
                  <c:v>44287</c:v>
                </c:pt>
                <c:pt idx="157">
                  <c:v>44317</c:v>
                </c:pt>
              </c:numCache>
            </c:numRef>
          </c:cat>
          <c:val>
            <c:numRef>
              <c:f>Synthese!$G$5:$G$198</c:f>
              <c:numCache>
                <c:formatCode>General</c:formatCode>
                <c:ptCount val="158"/>
                <c:pt idx="0">
                  <c:v>9</c:v>
                </c:pt>
                <c:pt idx="1">
                  <c:v>7.8</c:v>
                </c:pt>
                <c:pt idx="2">
                  <c:v>7</c:v>
                </c:pt>
                <c:pt idx="3">
                  <c:v>7.5</c:v>
                </c:pt>
                <c:pt idx="4">
                  <c:v>9</c:v>
                </c:pt>
                <c:pt idx="5">
                  <c:v>9</c:v>
                </c:pt>
                <c:pt idx="6">
                  <c:v>8.6</c:v>
                </c:pt>
                <c:pt idx="7">
                  <c:v>9.25</c:v>
                </c:pt>
                <c:pt idx="8">
                  <c:v>9.5</c:v>
                </c:pt>
                <c:pt idx="9">
                  <c:v>9.5</c:v>
                </c:pt>
                <c:pt idx="10">
                  <c:v>9.5</c:v>
                </c:pt>
                <c:pt idx="11">
                  <c:v>9.25</c:v>
                </c:pt>
                <c:pt idx="12">
                  <c:v>8.125</c:v>
                </c:pt>
                <c:pt idx="13">
                  <c:v>7.5</c:v>
                </c:pt>
                <c:pt idx="14">
                  <c:v>7.5</c:v>
                </c:pt>
                <c:pt idx="15">
                  <c:v>7</c:v>
                </c:pt>
                <c:pt idx="16">
                  <c:v>7</c:v>
                </c:pt>
                <c:pt idx="17">
                  <c:v>6.375</c:v>
                </c:pt>
                <c:pt idx="18">
                  <c:v>7.55</c:v>
                </c:pt>
                <c:pt idx="19">
                  <c:v>6.625</c:v>
                </c:pt>
                <c:pt idx="20">
                  <c:v>7.25</c:v>
                </c:pt>
                <c:pt idx="21">
                  <c:v>7.1</c:v>
                </c:pt>
                <c:pt idx="22">
                  <c:v>7.1749999999999998</c:v>
                </c:pt>
                <c:pt idx="23">
                  <c:v>7.3</c:v>
                </c:pt>
                <c:pt idx="24">
                  <c:v>7.45</c:v>
                </c:pt>
                <c:pt idx="25">
                  <c:v>7.25</c:v>
                </c:pt>
                <c:pt idx="26">
                  <c:v>7.45</c:v>
                </c:pt>
                <c:pt idx="27">
                  <c:v>7.45</c:v>
                </c:pt>
                <c:pt idx="28">
                  <c:v>7.75</c:v>
                </c:pt>
                <c:pt idx="29">
                  <c:v>8</c:v>
                </c:pt>
                <c:pt idx="30">
                  <c:v>8</c:v>
                </c:pt>
                <c:pt idx="31">
                  <c:v>8</c:v>
                </c:pt>
                <c:pt idx="32">
                  <c:v>8.1</c:v>
                </c:pt>
                <c:pt idx="33">
                  <c:v>8.5</c:v>
                </c:pt>
                <c:pt idx="34">
                  <c:v>8.6</c:v>
                </c:pt>
                <c:pt idx="35">
                  <c:v>9</c:v>
                </c:pt>
                <c:pt idx="36">
                  <c:v>9.25</c:v>
                </c:pt>
                <c:pt idx="37">
                  <c:v>9.4</c:v>
                </c:pt>
                <c:pt idx="38">
                  <c:v>9.4</c:v>
                </c:pt>
                <c:pt idx="39">
                  <c:v>9.6</c:v>
                </c:pt>
                <c:pt idx="40">
                  <c:v>10</c:v>
                </c:pt>
                <c:pt idx="41">
                  <c:v>10.5</c:v>
                </c:pt>
                <c:pt idx="42">
                  <c:v>10.5</c:v>
                </c:pt>
                <c:pt idx="43">
                  <c:v>11.5</c:v>
                </c:pt>
                <c:pt idx="44">
                  <c:v>11.75</c:v>
                </c:pt>
                <c:pt idx="45">
                  <c:v>11.75</c:v>
                </c:pt>
                <c:pt idx="46">
                  <c:v>12.25</c:v>
                </c:pt>
                <c:pt idx="47">
                  <c:v>12.6</c:v>
                </c:pt>
                <c:pt idx="48">
                  <c:v>12.6</c:v>
                </c:pt>
                <c:pt idx="49">
                  <c:v>12.6</c:v>
                </c:pt>
                <c:pt idx="50">
                  <c:v>12.6</c:v>
                </c:pt>
                <c:pt idx="51">
                  <c:v>12.9</c:v>
                </c:pt>
                <c:pt idx="52" formatCode="0.000">
                  <c:v>12.9</c:v>
                </c:pt>
                <c:pt idx="53" formatCode="0.000">
                  <c:v>12.5</c:v>
                </c:pt>
                <c:pt idx="54" formatCode="0.000">
                  <c:v>11.5</c:v>
                </c:pt>
                <c:pt idx="55" formatCode="0.000">
                  <c:v>11.5</c:v>
                </c:pt>
                <c:pt idx="56" formatCode="0.000">
                  <c:v>11.3</c:v>
                </c:pt>
                <c:pt idx="57" formatCode="0.000">
                  <c:v>11</c:v>
                </c:pt>
                <c:pt idx="58" formatCode="0.000">
                  <c:v>10.9</c:v>
                </c:pt>
                <c:pt idx="59" formatCode="0.000">
                  <c:v>10.9</c:v>
                </c:pt>
                <c:pt idx="60" formatCode="0.000">
                  <c:v>10.9</c:v>
                </c:pt>
                <c:pt idx="61" formatCode="0.000">
                  <c:v>10.9</c:v>
                </c:pt>
                <c:pt idx="62" formatCode="0.000">
                  <c:v>10.9</c:v>
                </c:pt>
                <c:pt idx="63" formatCode="0.000">
                  <c:v>10.75</c:v>
                </c:pt>
                <c:pt idx="64" formatCode="0.000">
                  <c:v>10.75</c:v>
                </c:pt>
                <c:pt idx="65" formatCode="0.000">
                  <c:v>10.75</c:v>
                </c:pt>
                <c:pt idx="66" formatCode="0.000">
                  <c:v>10.75</c:v>
                </c:pt>
                <c:pt idx="67" formatCode="0.000">
                  <c:v>10.75</c:v>
                </c:pt>
                <c:pt idx="68" formatCode="0.000">
                  <c:v>10.75</c:v>
                </c:pt>
                <c:pt idx="69" formatCode="0.000">
                  <c:v>10.75</c:v>
                </c:pt>
                <c:pt idx="70" formatCode="0.000">
                  <c:v>10.375</c:v>
                </c:pt>
                <c:pt idx="71" formatCode="0.000">
                  <c:v>10.125</c:v>
                </c:pt>
                <c:pt idx="72" formatCode="0.000">
                  <c:v>10.125</c:v>
                </c:pt>
                <c:pt idx="73" formatCode="0.000">
                  <c:v>10.125</c:v>
                </c:pt>
                <c:pt idx="74" formatCode="0.000">
                  <c:v>9.9499999999999993</c:v>
                </c:pt>
                <c:pt idx="75" formatCode="0.000">
                  <c:v>9.9499999999999993</c:v>
                </c:pt>
                <c:pt idx="76" formatCode="0.000">
                  <c:v>9.9499999999999993</c:v>
                </c:pt>
                <c:pt idx="77" formatCode="0.000">
                  <c:v>9.85</c:v>
                </c:pt>
                <c:pt idx="78" formatCode="0.000">
                  <c:v>9.85</c:v>
                </c:pt>
                <c:pt idx="79" formatCode="0.000">
                  <c:v>9.85</c:v>
                </c:pt>
                <c:pt idx="80" formatCode="0.000">
                  <c:v>9.85</c:v>
                </c:pt>
                <c:pt idx="81" formatCode="0.000">
                  <c:v>9.85</c:v>
                </c:pt>
                <c:pt idx="82" formatCode="0.000">
                  <c:v>9.5500000000000007</c:v>
                </c:pt>
                <c:pt idx="83" formatCode="0.000">
                  <c:v>9.4</c:v>
                </c:pt>
                <c:pt idx="84" formatCode="0.000">
                  <c:v>9.3000000000000007</c:v>
                </c:pt>
                <c:pt idx="85" formatCode="0.000">
                  <c:v>9.25</c:v>
                </c:pt>
                <c:pt idx="86" formatCode="0.000">
                  <c:v>9.25</c:v>
                </c:pt>
                <c:pt idx="87" formatCode="0.000">
                  <c:v>9.15</c:v>
                </c:pt>
                <c:pt idx="88" formatCode="0.000">
                  <c:v>9.15</c:v>
                </c:pt>
                <c:pt idx="89" formatCode="0.000">
                  <c:v>9.15</c:v>
                </c:pt>
                <c:pt idx="90" formatCode="0.000">
                  <c:v>9.0500000000000007</c:v>
                </c:pt>
                <c:pt idx="91" formatCode="0.000">
                  <c:v>9.0500000000000007</c:v>
                </c:pt>
                <c:pt idx="92" formatCode="0.000">
                  <c:v>9.0500000000000007</c:v>
                </c:pt>
                <c:pt idx="93" formatCode="0.000">
                  <c:v>8.9250000000000007</c:v>
                </c:pt>
                <c:pt idx="94" formatCode="0.000">
                  <c:v>8.8000000000000007</c:v>
                </c:pt>
                <c:pt idx="95" formatCode="0.000">
                  <c:v>8.65</c:v>
                </c:pt>
                <c:pt idx="96" formatCode="0.000">
                  <c:v>8.3249999999999993</c:v>
                </c:pt>
                <c:pt idx="97" formatCode="0.000">
                  <c:v>7.95</c:v>
                </c:pt>
                <c:pt idx="98" formatCode="0.000">
                  <c:v>7.9</c:v>
                </c:pt>
                <c:pt idx="99" formatCode="0.000">
                  <c:v>7.9</c:v>
                </c:pt>
                <c:pt idx="100" formatCode="0.000">
                  <c:v>7.9</c:v>
                </c:pt>
                <c:pt idx="101" formatCode="0.000">
                  <c:v>7.9</c:v>
                </c:pt>
                <c:pt idx="102" formatCode="0.000">
                  <c:v>7.9</c:v>
                </c:pt>
                <c:pt idx="103" formatCode="0.000">
                  <c:v>7.9</c:v>
                </c:pt>
                <c:pt idx="104" formatCode="0.000">
                  <c:v>7.9</c:v>
                </c:pt>
                <c:pt idx="105" formatCode="0.000">
                  <c:v>7.9</c:v>
                </c:pt>
                <c:pt idx="106" formatCode="0.000">
                  <c:v>7.9</c:v>
                </c:pt>
                <c:pt idx="107" formatCode="0.000">
                  <c:v>7.9</c:v>
                </c:pt>
                <c:pt idx="108" formatCode="0.000">
                  <c:v>7.9</c:v>
                </c:pt>
                <c:pt idx="109" formatCode="0.000">
                  <c:v>8.7469000000000001</c:v>
                </c:pt>
                <c:pt idx="110" formatCode="0.000">
                  <c:v>8.5500000000000007</c:v>
                </c:pt>
                <c:pt idx="111" formatCode="0.000">
                  <c:v>8.15</c:v>
                </c:pt>
                <c:pt idx="112" formatCode="0.000">
                  <c:v>8.15</c:v>
                </c:pt>
                <c:pt idx="113" formatCode="0.000">
                  <c:v>8.15</c:v>
                </c:pt>
                <c:pt idx="114" formatCode="0.000">
                  <c:v>8.15</c:v>
                </c:pt>
                <c:pt idx="115" formatCode="0.000">
                  <c:v>8.0068000000000001</c:v>
                </c:pt>
                <c:pt idx="116" formatCode="0.000">
                  <c:v>8</c:v>
                </c:pt>
                <c:pt idx="117" formatCode="0.000">
                  <c:v>8</c:v>
                </c:pt>
                <c:pt idx="118" formatCode="0.000">
                  <c:v>8.1</c:v>
                </c:pt>
                <c:pt idx="119" formatCode="0.000">
                  <c:v>8.625</c:v>
                </c:pt>
                <c:pt idx="120" formatCode="0.000">
                  <c:v>8.625</c:v>
                </c:pt>
                <c:pt idx="121" formatCode="0.000">
                  <c:v>8.5</c:v>
                </c:pt>
                <c:pt idx="122" formatCode="0.000">
                  <c:v>8.5</c:v>
                </c:pt>
                <c:pt idx="123" formatCode="0.000">
                  <c:v>8.4885999999999999</c:v>
                </c:pt>
                <c:pt idx="124" formatCode="0.000">
                  <c:v>8.25</c:v>
                </c:pt>
                <c:pt idx="125" formatCode="0.000">
                  <c:v>8.25</c:v>
                </c:pt>
                <c:pt idx="126" formatCode="0.000">
                  <c:v>8.25</c:v>
                </c:pt>
                <c:pt idx="127" formatCode="0.000">
                  <c:v>8.25</c:v>
                </c:pt>
                <c:pt idx="128" formatCode="0.000">
                  <c:v>8.2341999999999995</c:v>
                </c:pt>
                <c:pt idx="129" formatCode="0.000">
                  <c:v>8.15</c:v>
                </c:pt>
                <c:pt idx="130" formatCode="0.000">
                  <c:v>8.15</c:v>
                </c:pt>
                <c:pt idx="131" formatCode="0.000">
                  <c:v>8.15</c:v>
                </c:pt>
                <c:pt idx="132" formatCode="0.000">
                  <c:v>8.2688000000000006</c:v>
                </c:pt>
                <c:pt idx="133" formatCode="0.000">
                  <c:v>8.35</c:v>
                </c:pt>
                <c:pt idx="134" formatCode="0.000">
                  <c:v>8.35</c:v>
                </c:pt>
                <c:pt idx="135" formatCode="0.000">
                  <c:v>8.4457000000000004</c:v>
                </c:pt>
                <c:pt idx="136" formatCode="0.000">
                  <c:v>8.4499999999999993</c:v>
                </c:pt>
                <c:pt idx="137" formatCode="0.000">
                  <c:v>8.5213999999999999</c:v>
                </c:pt>
                <c:pt idx="138" formatCode="0.000">
                  <c:v>8.9499999999999993</c:v>
                </c:pt>
                <c:pt idx="139" formatCode="0.000">
                  <c:v>8.9499999999999993</c:v>
                </c:pt>
                <c:pt idx="140" formatCode="0.000">
                  <c:v>8.9499999999999993</c:v>
                </c:pt>
                <c:pt idx="141" formatCode="0.000">
                  <c:v>8.9499999999999993</c:v>
                </c:pt>
                <c:pt idx="142" formatCode="0.000">
                  <c:v>8.9499999999999993</c:v>
                </c:pt>
                <c:pt idx="143" formatCode="0.000">
                  <c:v>8.8522999999999996</c:v>
                </c:pt>
                <c:pt idx="144" formatCode="0.000">
                  <c:v>8.8000000000000007</c:v>
                </c:pt>
                <c:pt idx="145" formatCode="0.000">
                  <c:v>8.7316000000000003</c:v>
                </c:pt>
                <c:pt idx="146" formatCode="0.000">
                  <c:v>8.15</c:v>
                </c:pt>
                <c:pt idx="147" formatCode="0.000">
                  <c:v>7.1935000000000002</c:v>
                </c:pt>
                <c:pt idx="148" formatCode="0.000">
                  <c:v>7.15</c:v>
                </c:pt>
                <c:pt idx="149" formatCode="0.000">
                  <c:v>7.15</c:v>
                </c:pt>
                <c:pt idx="150" formatCode="0.000">
                  <c:v>7.15</c:v>
                </c:pt>
                <c:pt idx="151" formatCode="0.000">
                  <c:v>7.15</c:v>
                </c:pt>
                <c:pt idx="152" formatCode="0.000">
                  <c:v>7.7</c:v>
                </c:pt>
                <c:pt idx="153" formatCode="0.000">
                  <c:v>7.7</c:v>
                </c:pt>
                <c:pt idx="154" formatCode="0.000">
                  <c:v>7.7</c:v>
                </c:pt>
                <c:pt idx="155" formatCode="0.000">
                  <c:v>7.7</c:v>
                </c:pt>
                <c:pt idx="156" formatCode="0.000">
                  <c:v>7.7</c:v>
                </c:pt>
                <c:pt idx="157" formatCode="0.000">
                  <c:v>7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73B-4C82-94E3-622C968FEE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9449728"/>
        <c:axId val="169464192"/>
      </c:lineChart>
      <c:dateAx>
        <c:axId val="169449728"/>
        <c:scaling>
          <c:orientation val="minMax"/>
        </c:scaling>
        <c:delete val="0"/>
        <c:axPos val="b"/>
        <c:numFmt formatCode="[$-409]mmm\-yy;@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fr-FR"/>
          </a:p>
        </c:txPr>
        <c:crossAx val="169464192"/>
        <c:crosses val="autoZero"/>
        <c:auto val="1"/>
        <c:lblOffset val="100"/>
        <c:baseTimeUnit val="months"/>
      </c:dateAx>
      <c:valAx>
        <c:axId val="169464192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$/kg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fr-FR"/>
          </a:p>
        </c:txPr>
        <c:crossAx val="169449728"/>
        <c:crosses val="autoZero"/>
        <c:crossBetween val="between"/>
        <c:majorUnit val="5"/>
      </c:valAx>
      <c:spPr>
        <a:blipFill dpi="0" rotWithShape="1">
          <a:blip xmlns:r="http://schemas.openxmlformats.org/officeDocument/2006/relationships" r:embed="rId2">
            <a:alphaModFix amt="50000"/>
          </a:blip>
          <a:srcRect/>
          <a:stretch>
            <a:fillRect/>
          </a:stretch>
        </a:blipFill>
      </c:spPr>
    </c:plotArea>
    <c:plotVisOnly val="1"/>
    <c:dispBlanksAs val="gap"/>
    <c:showDLblsOverMax val="0"/>
  </c:chart>
  <c:spPr>
    <a:solidFill>
      <a:sysClr val="window" lastClr="FFFFFF"/>
    </a:solidFill>
  </c:spPr>
  <c:externalData r:id="rId3">
    <c:autoUpdate val="0"/>
  </c:externalData>
  <c:userShapes r:id="rId4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6208</cdr:x>
      <cdr:y>0.55308</cdr:y>
    </cdr:from>
    <cdr:to>
      <cdr:x>1</cdr:x>
      <cdr:y>0.62014</cdr:y>
    </cdr:to>
    <cdr:sp macro="" textlink="">
      <cdr:nvSpPr>
        <cdr:cNvPr id="3" name="ZoneTexte 2">
          <a:extLst xmlns:a="http://schemas.openxmlformats.org/drawingml/2006/main">
            <a:ext uri="{FF2B5EF4-FFF2-40B4-BE49-F238E27FC236}">
              <a16:creationId xmlns:a16="http://schemas.microsoft.com/office/drawing/2014/main" id="{A3A84FC4-4216-4FBC-94EB-8AAD65750B18}"/>
            </a:ext>
          </a:extLst>
        </cdr:cNvPr>
        <cdr:cNvSpPr txBox="1"/>
      </cdr:nvSpPr>
      <cdr:spPr>
        <a:xfrm xmlns:a="http://schemas.openxmlformats.org/drawingml/2006/main">
          <a:off x="4897452" y="1776793"/>
          <a:ext cx="783543" cy="21544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r>
            <a:rPr lang="fr-FR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rPr>
            <a:t>Ingot Ti 6-4</a:t>
          </a:r>
        </a:p>
      </cdr:txBody>
    </cdr:sp>
  </cdr:relSizeAnchor>
  <cdr:relSizeAnchor xmlns:cdr="http://schemas.openxmlformats.org/drawingml/2006/chartDrawing">
    <cdr:from>
      <cdr:x>0.85615</cdr:x>
      <cdr:y>0.70617</cdr:y>
    </cdr:from>
    <cdr:to>
      <cdr:x>0.97446</cdr:x>
      <cdr:y>0.76753</cdr:y>
    </cdr:to>
    <cdr:sp macro="" textlink="">
      <cdr:nvSpPr>
        <cdr:cNvPr id="4" name="ZoneTexte 1">
          <a:extLst xmlns:a="http://schemas.openxmlformats.org/drawingml/2006/main">
            <a:ext uri="{FF2B5EF4-FFF2-40B4-BE49-F238E27FC236}">
              <a16:creationId xmlns:a16="http://schemas.microsoft.com/office/drawing/2014/main" id="{A66B3F45-5A89-4BE6-AD57-1E2F71DFD1FB}"/>
            </a:ext>
          </a:extLst>
        </cdr:cNvPr>
        <cdr:cNvSpPr txBox="1"/>
      </cdr:nvSpPr>
      <cdr:spPr>
        <a:xfrm xmlns:a="http://schemas.openxmlformats.org/drawingml/2006/main">
          <a:off x="4863803" y="2268617"/>
          <a:ext cx="672115" cy="19712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800" dirty="0" err="1">
              <a:solidFill>
                <a:srgbClr val="1B9D91"/>
              </a:solidFill>
              <a:latin typeface="Arial" panose="020B0604020202020204" pitchFamily="34" charset="0"/>
              <a:cs typeface="Arial" panose="020B0604020202020204" pitchFamily="34" charset="0"/>
            </a:rPr>
            <a:t>Solids</a:t>
          </a:r>
          <a:endParaRPr lang="fr-FR" sz="800" dirty="0">
            <a:solidFill>
              <a:srgbClr val="1B9D9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6208</cdr:x>
      <cdr:y>0.55308</cdr:y>
    </cdr:from>
    <cdr:to>
      <cdr:x>1</cdr:x>
      <cdr:y>0.62014</cdr:y>
    </cdr:to>
    <cdr:sp macro="" textlink="">
      <cdr:nvSpPr>
        <cdr:cNvPr id="3" name="ZoneTexte 2">
          <a:extLst xmlns:a="http://schemas.openxmlformats.org/drawingml/2006/main">
            <a:ext uri="{FF2B5EF4-FFF2-40B4-BE49-F238E27FC236}">
              <a16:creationId xmlns:a16="http://schemas.microsoft.com/office/drawing/2014/main" id="{A3A84FC4-4216-4FBC-94EB-8AAD65750B18}"/>
            </a:ext>
          </a:extLst>
        </cdr:cNvPr>
        <cdr:cNvSpPr txBox="1"/>
      </cdr:nvSpPr>
      <cdr:spPr>
        <a:xfrm xmlns:a="http://schemas.openxmlformats.org/drawingml/2006/main">
          <a:off x="4897452" y="1776793"/>
          <a:ext cx="783543" cy="21544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r>
            <a:rPr lang="fr-FR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rPr>
            <a:t>Ingot Ti 6-4</a:t>
          </a:r>
        </a:p>
      </cdr:txBody>
    </cdr:sp>
  </cdr:relSizeAnchor>
  <cdr:relSizeAnchor xmlns:cdr="http://schemas.openxmlformats.org/drawingml/2006/chartDrawing">
    <cdr:from>
      <cdr:x>0.85615</cdr:x>
      <cdr:y>0.70617</cdr:y>
    </cdr:from>
    <cdr:to>
      <cdr:x>0.97446</cdr:x>
      <cdr:y>0.76753</cdr:y>
    </cdr:to>
    <cdr:sp macro="" textlink="">
      <cdr:nvSpPr>
        <cdr:cNvPr id="4" name="ZoneTexte 1">
          <a:extLst xmlns:a="http://schemas.openxmlformats.org/drawingml/2006/main">
            <a:ext uri="{FF2B5EF4-FFF2-40B4-BE49-F238E27FC236}">
              <a16:creationId xmlns:a16="http://schemas.microsoft.com/office/drawing/2014/main" id="{A66B3F45-5A89-4BE6-AD57-1E2F71DFD1FB}"/>
            </a:ext>
          </a:extLst>
        </cdr:cNvPr>
        <cdr:cNvSpPr txBox="1"/>
      </cdr:nvSpPr>
      <cdr:spPr>
        <a:xfrm xmlns:a="http://schemas.openxmlformats.org/drawingml/2006/main">
          <a:off x="4863803" y="2268617"/>
          <a:ext cx="672115" cy="19712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800" dirty="0" err="1">
              <a:solidFill>
                <a:srgbClr val="1B9D91"/>
              </a:solidFill>
              <a:latin typeface="Arial" panose="020B0604020202020204" pitchFamily="34" charset="0"/>
              <a:cs typeface="Arial" panose="020B0604020202020204" pitchFamily="34" charset="0"/>
            </a:rPr>
            <a:t>Solids</a:t>
          </a:r>
          <a:endParaRPr lang="fr-FR" sz="800" dirty="0">
            <a:solidFill>
              <a:srgbClr val="1B9D9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C2E589-FBB0-4D3E-90AC-7B28391FF1D4}" type="datetimeFigureOut">
              <a:rPr lang="fr-FR" smtClean="0"/>
              <a:t>25/08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341ACD-46F5-4839-B342-64E53CE8A86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5941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jpe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6.png"/><Relationship Id="rId4" Type="http://schemas.openxmlformats.org/officeDocument/2006/relationships/image" Target="../media/image17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6.png"/><Relationship Id="rId4" Type="http://schemas.openxmlformats.org/officeDocument/2006/relationships/image" Target="../media/image17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7.jpeg"/><Relationship Id="rId4" Type="http://schemas.openxmlformats.org/officeDocument/2006/relationships/image" Target="../media/image18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7.jpeg"/><Relationship Id="rId4" Type="http://schemas.openxmlformats.org/officeDocument/2006/relationships/image" Target="../media/image18.pn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0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0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0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0.pn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6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6.png"/><Relationship Id="rId4" Type="http://schemas.openxmlformats.org/officeDocument/2006/relationships/image" Target="../media/image17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7.jpeg"/><Relationship Id="rId4" Type="http://schemas.openxmlformats.org/officeDocument/2006/relationships/image" Target="../media/image18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7.jpeg"/><Relationship Id="rId4" Type="http://schemas.openxmlformats.org/officeDocument/2006/relationships/image" Target="../media/image18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6.png"/><Relationship Id="rId4" Type="http://schemas.openxmlformats.org/officeDocument/2006/relationships/image" Target="../media/image17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6.png"/><Relationship Id="rId4" Type="http://schemas.openxmlformats.org/officeDocument/2006/relationships/image" Target="../media/image17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7.jpeg"/><Relationship Id="rId4" Type="http://schemas.openxmlformats.org/officeDocument/2006/relationships/image" Target="../media/image18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7.jpeg"/><Relationship Id="rId4" Type="http://schemas.openxmlformats.org/officeDocument/2006/relationships/image" Target="../media/image1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4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4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6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6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6.png"/><Relationship Id="rId4" Type="http://schemas.openxmlformats.org/officeDocument/2006/relationships/image" Target="../media/image27.jpe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jpe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8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8.png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8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8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8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8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0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jpe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6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6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65375" y="494312"/>
            <a:ext cx="306305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6887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C4CCAB8-AAD0-40CB-87BA-607E55E83DF7}"/>
              </a:ext>
            </a:extLst>
          </p:cNvPr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0644764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0712" y="5547712"/>
            <a:ext cx="1925346" cy="792000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4" name="Groupe 53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2" name="Image 51">
            <a:extLst>
              <a:ext uri="{FF2B5EF4-FFF2-40B4-BE49-F238E27FC236}">
                <a16:creationId xmlns:a16="http://schemas.microsoft.com/office/drawing/2014/main" id="{BF4D347A-9581-4385-99CA-424B0A05193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1999" y="2756118"/>
            <a:ext cx="1800000" cy="20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71609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6061" y="5543811"/>
            <a:ext cx="1925342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6818" y="1187335"/>
            <a:ext cx="1983050" cy="90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2757" y="2106945"/>
            <a:ext cx="1980000" cy="731871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716038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6061" y="5543811"/>
            <a:ext cx="1925342" cy="792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6818" y="1187335"/>
            <a:ext cx="1983050" cy="90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2757" y="2106945"/>
            <a:ext cx="1980000" cy="731871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81016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6000" y="5544000"/>
            <a:ext cx="1925346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6818" y="980730"/>
            <a:ext cx="1983050" cy="899999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5" name="Image 54">
            <a:extLst>
              <a:ext uri="{FF2B5EF4-FFF2-40B4-BE49-F238E27FC236}">
                <a16:creationId xmlns:a16="http://schemas.microsoft.com/office/drawing/2014/main" id="{72972914-0DFD-4133-9602-75B075C2562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8342" y="2294995"/>
            <a:ext cx="1800000" cy="20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25438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6000" y="5544000"/>
            <a:ext cx="1925346" cy="792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6818" y="980730"/>
            <a:ext cx="1983050" cy="899999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5" name="Image 54">
            <a:extLst>
              <a:ext uri="{FF2B5EF4-FFF2-40B4-BE49-F238E27FC236}">
                <a16:creationId xmlns:a16="http://schemas.microsoft.com/office/drawing/2014/main" id="{3A30F8F0-C8DF-447F-BC7D-39E767FF88F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9868" y="2294995"/>
            <a:ext cx="1800000" cy="20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32642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36000" y="1260136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1267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36000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1267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36000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1267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36000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1267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36000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41267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36000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81723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076456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581723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76456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581723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076456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81723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076456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581723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76456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076456" y="5445226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65819783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40353" y="6201308"/>
            <a:ext cx="1006985" cy="4320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379348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40353" y="6201308"/>
            <a:ext cx="1006985" cy="4320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685854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1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2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5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480390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1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4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5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6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0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4005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55642874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19400274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73811562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09307394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11510256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>
            <a:off x="540000" y="972102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40000" y="1242000"/>
            <a:ext cx="806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7366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8861976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5330138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540000" y="1291282"/>
            <a:ext cx="4032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882"/>
            <a:ext cx="3744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36890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126964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207886487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4874401" y="1306264"/>
            <a:ext cx="3730075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72856038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1298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90381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11298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0381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88024433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6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5740791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99783089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78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418594051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40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5004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000" y="1242000"/>
            <a:ext cx="410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860000" y="1242000"/>
            <a:ext cx="374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2625808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47753" y="5968402"/>
            <a:ext cx="1575284" cy="648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6818" y="1187335"/>
            <a:ext cx="1983050" cy="900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2757" y="2106945"/>
            <a:ext cx="1980000" cy="731871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233622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47753" y="5968402"/>
            <a:ext cx="1575284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6818" y="1187335"/>
            <a:ext cx="1983050" cy="90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2757" y="2106945"/>
            <a:ext cx="1980000" cy="731871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543963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47753" y="5968402"/>
            <a:ext cx="1575283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6818" y="980730"/>
            <a:ext cx="1983050" cy="899999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5" name="Image 54">
            <a:extLst>
              <a:ext uri="{FF2B5EF4-FFF2-40B4-BE49-F238E27FC236}">
                <a16:creationId xmlns:a16="http://schemas.microsoft.com/office/drawing/2014/main" id="{9B0210AC-A5F0-4839-B753-5EDD81623C3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4447" y="2294995"/>
            <a:ext cx="1800000" cy="20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81014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47753" y="5968402"/>
            <a:ext cx="1575283" cy="648000"/>
          </a:xfrm>
          <a:prstGeom prst="rect">
            <a:avLst/>
          </a:prstGeom>
        </p:spPr>
      </p:pic>
      <p:sp>
        <p:nvSpPr>
          <p:cNvPr id="16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6818" y="980730"/>
            <a:ext cx="1983050" cy="899999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5" name="Image 54">
            <a:extLst>
              <a:ext uri="{FF2B5EF4-FFF2-40B4-BE49-F238E27FC236}">
                <a16:creationId xmlns:a16="http://schemas.microsoft.com/office/drawing/2014/main" id="{49124716-8510-4CF5-AFBC-5DC8E3F63C5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4447" y="2294995"/>
            <a:ext cx="1800000" cy="20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08092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0713" y="5547712"/>
            <a:ext cx="1925347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grpSp>
        <p:nvGrpSpPr>
          <p:cNvPr id="13" name="Groupe 12"/>
          <p:cNvGrpSpPr/>
          <p:nvPr/>
        </p:nvGrpSpPr>
        <p:grpSpPr>
          <a:xfrm>
            <a:off x="2521881" y="2559571"/>
            <a:ext cx="4100238" cy="900000"/>
            <a:chOff x="3580474" y="2559571"/>
            <a:chExt cx="4100238" cy="900000"/>
          </a:xfrm>
        </p:grpSpPr>
        <p:pic>
          <p:nvPicPr>
            <p:cNvPr id="14" name="Image 13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80474" y="2559571"/>
              <a:ext cx="1983052" cy="900000"/>
            </a:xfrm>
            <a:prstGeom prst="rect">
              <a:avLst/>
            </a:prstGeom>
          </p:spPr>
        </p:pic>
        <p:pic>
          <p:nvPicPr>
            <p:cNvPr id="15" name="Image 1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0712" y="2643635"/>
              <a:ext cx="1980000" cy="731871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327462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0713" y="5547712"/>
            <a:ext cx="1925347" cy="792000"/>
          </a:xfrm>
          <a:prstGeom prst="rect">
            <a:avLst/>
          </a:prstGeom>
        </p:spPr>
      </p:pic>
      <p:grpSp>
        <p:nvGrpSpPr>
          <p:cNvPr id="14" name="Groupe 13"/>
          <p:cNvGrpSpPr/>
          <p:nvPr/>
        </p:nvGrpSpPr>
        <p:grpSpPr>
          <a:xfrm>
            <a:off x="2521881" y="2559571"/>
            <a:ext cx="4100238" cy="900000"/>
            <a:chOff x="3580474" y="2559571"/>
            <a:chExt cx="4100238" cy="900000"/>
          </a:xfrm>
        </p:grpSpPr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80474" y="2559571"/>
              <a:ext cx="1983052" cy="900000"/>
            </a:xfrm>
            <a:prstGeom prst="rect">
              <a:avLst/>
            </a:prstGeom>
          </p:spPr>
        </p:pic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0712" y="2643635"/>
              <a:ext cx="1980000" cy="731871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323459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0712" y="5547712"/>
            <a:ext cx="1925346" cy="79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1031" y="2556656"/>
            <a:ext cx="1983050" cy="9000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4" name="Image 53">
            <a:extLst>
              <a:ext uri="{FF2B5EF4-FFF2-40B4-BE49-F238E27FC236}">
                <a16:creationId xmlns:a16="http://schemas.microsoft.com/office/drawing/2014/main" id="{26787DF7-B9EC-4835-A64B-898D5D0F24C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7151" y="2893807"/>
            <a:ext cx="1800000" cy="20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15152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0712" y="5547712"/>
            <a:ext cx="1925346" cy="792000"/>
          </a:xfrm>
          <a:prstGeom prst="rect">
            <a:avLst/>
          </a:prstGeom>
        </p:spPr>
      </p:pic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1031" y="2556656"/>
            <a:ext cx="1983050" cy="9000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4" name="Image 53">
            <a:extLst>
              <a:ext uri="{FF2B5EF4-FFF2-40B4-BE49-F238E27FC236}">
                <a16:creationId xmlns:a16="http://schemas.microsoft.com/office/drawing/2014/main" id="{AC740C30-FCF6-4716-A2BB-9B08FAB5A54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7151" y="2893807"/>
            <a:ext cx="1800000" cy="20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4324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29643951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015B02BA-9FB0-49D4-8BE0-0FB75166CE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545893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015B02BA-9FB0-49D4-8BE0-0FB75166C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823579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EAADE8E3-FA1E-4887-AE6E-2C7C904EAC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506555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EAADE8E3-FA1E-4887-AE6E-2C7C904EAC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990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6488027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>
            <a:off x="540000" y="972102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40000" y="1242000"/>
            <a:ext cx="806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136665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3302820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540000" y="1291282"/>
            <a:ext cx="4032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882"/>
            <a:ext cx="3744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36890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126964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16617235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4874401" y="1306264"/>
            <a:ext cx="3730075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262145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1298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90381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11298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0381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916082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65375" y="494312"/>
            <a:ext cx="306305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0888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6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7741946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78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7477968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40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5004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000" y="1242000"/>
            <a:ext cx="410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860000" y="1242000"/>
            <a:ext cx="374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1788907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85604" y="5542604"/>
            <a:ext cx="1925343" cy="79199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4358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85604" y="5542604"/>
            <a:ext cx="1925343" cy="79199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67584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85604" y="5542603"/>
            <a:ext cx="1925343" cy="7920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0508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85604" y="5542603"/>
            <a:ext cx="1925343" cy="792000"/>
          </a:xfrm>
          <a:prstGeom prst="rect">
            <a:avLst/>
          </a:prstGeom>
        </p:spPr>
      </p:pic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5" name="Groupe 54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28881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89337" y="2206800"/>
            <a:ext cx="3063050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7586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89337" y="2206800"/>
            <a:ext cx="3063050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20632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89337" y="2206800"/>
            <a:ext cx="3063051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3" name="Groupe 52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9551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65374" y="494312"/>
            <a:ext cx="3063051" cy="12600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109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89337" y="2206800"/>
            <a:ext cx="3063051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3" name="Groupe 52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62598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OWER_USER_LAYOUT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15A3C89B-38DE-458D-A8F5-923F7FF5B3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63706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15A3C89B-38DE-458D-A8F5-923F7FF5B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851683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B0277A9-8D34-4EB1-8001-2B4DDEB55B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A91416-45C0-49C3-B695-9E1B36FF27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F480336-5226-4F63-A0A0-CB0BF12E94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3B2AD79-6D73-4FB7-A984-ED00EC98C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EcoTitanium / UKAD : les avantages de la filière Titan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5D92C93-C18C-40CC-B262-9CC1E07BA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D9A8713-4DF6-472A-9520-85B5D0371C3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39255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9EEA7A6-E47A-4FBF-A939-3722CBDF2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675AFCE-4AF1-4E93-890C-7214B1EF4E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47C88CB-2221-482A-93CB-0885C5B94C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1692369-7203-4269-8026-298C6F29A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EcoTitanium / UKAD : les avantages de la filière Titan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9816B5C-7B5E-4703-B652-8B2C45313D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D9A8713-4DF6-472A-9520-85B5D0371C3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7751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D9F67CE-4853-4FA7-8EB8-7CBD12ACB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D2CCD78-3492-444D-AA18-FD3458D68B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3EB1927-AB4D-43AF-8618-1FDE459DC1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A628830-5DFB-4CF7-B821-B6D093817C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EcoTitanium / UKAD : les avantages de la filière Titan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CD1C487-82E4-4002-BA18-231346997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D9A8713-4DF6-472A-9520-85B5D0371C3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79359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4404511-1830-4D6D-84AC-43574F67E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BD853FD-0EF4-409B-A123-171A3265F3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B448ECF-DDE9-4B75-B36B-E3640F1B4F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85AE5695-D86C-4233-872F-FDAF3B137F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C39B4B1-8E0C-4B78-B298-E2CBDECFF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EcoTitanium / UKAD : les avantages de la filière Titan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4953DB9-0172-4A0B-B4D6-F4785E6EFE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D9A8713-4DF6-472A-9520-85B5D0371C3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04133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E062231-6AAB-4A4C-AF70-C2ACC64C7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B7CA1F9-70BD-4492-847A-84024CBEE9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3AA188F-C62E-4743-A4B5-DC058D3DEB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A3251F7-5468-470B-BDA6-2808512A0E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EFE7AA3C-02FF-4FE6-859B-3423333E87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DBB83AB0-692B-44FE-A1B2-FFA1C347B3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7C60CD2A-2460-4E25-8765-77AD4D38D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EcoTitanium / UKAD : les avantages de la filière Titane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E902C00E-8464-4B9E-AFE0-1ECF5941E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D9A8713-4DF6-472A-9520-85B5D0371C3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97705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D1A53F50-F791-495D-AB82-6097C7FE22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897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D1A53F50-F791-495D-AB82-6097C7FE2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143861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3AB89003-572D-41EA-9784-C640BBD91E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7269366-DCE4-4265-AC6C-56C90F2D2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EcoTitanium / UKAD : les avantages de la filière Titan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CB3BCCD-956D-4EC6-8BE8-BA1FFF4E4D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D9A8713-4DF6-472A-9520-85B5D0371C3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61265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F6CC00-80B1-4BF0-A7EA-B5E2BBCE7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59C7B1F-E3A9-43F2-A91F-70764228AF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CA19F26-4827-4FB6-82A7-E532AF83B7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73DAD13-2C4A-4330-B35E-1E01862032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627B5C1-1B89-4691-9C10-FC23D8873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EcoTitanium / UKAD : les avantages de la filière Titan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B5A8D62-97B3-4B0F-9828-2182EA1B7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D9A8713-4DF6-472A-9520-85B5D0371C3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34731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2DA1E88-2E22-41AA-8EB9-BBF0FC4B7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6D162D6-9E0F-4D77-8AC3-B88D55FB0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57A871A-61BB-4E71-BABB-DA08FF1133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601F1CE-28DA-4689-B600-B168D793D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8641C69C-4680-4240-8CC8-CD3C4D2FFBD3}"/>
              </a:ext>
            </a:extLst>
          </p:cNvPr>
          <p:cNvCxnSpPr/>
          <p:nvPr userDrawn="1"/>
        </p:nvCxnSpPr>
        <p:spPr bwMode="gray">
          <a:xfrm>
            <a:off x="540000" y="972102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557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FC71EA-DEA7-4A3A-B218-6ABEC0F87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C6459FE2-E8B4-415A-8CEA-5BCA80EDF0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60A6E9-0A60-4861-A12D-DE348D1E6E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365538-B010-453E-BC19-AA36020BE2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BBC3933-EB06-446F-B9F8-C6D2129BF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EcoTitanium / UKAD : les avantages de la filière Titan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5F9BE03-AD07-4C00-8ACF-8333F6484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D9A8713-4DF6-472A-9520-85B5D0371C3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20938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625A1B1-48DB-4843-83EE-59D578ACA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A165554-6946-4E20-83F2-CAAA637E6C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828238A-4F1F-4C8C-8CF5-A4BDD0D989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2EC2C00-B6ED-43D8-BDC2-D0947620D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EcoTitanium / UKAD : les avantages de la filière Titan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EC88513-192B-4CB2-8BA1-B9382495F1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D9A8713-4DF6-472A-9520-85B5D0371C3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27132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B566E6D9-BB59-4502-8187-1F8747923F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C18D9F37-0EB1-42D4-9000-C815D60156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D35F6F8-D6C3-4C28-9B12-20F7568E38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EC99747-6EC4-44C4-ADE5-98D623D4F2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EcoTitanium / UKAD : les avantages de la filière Titan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6303EBA-59D2-43DA-8E0E-E6763D7E2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D9A8713-4DF6-472A-9520-85B5D0371C3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255444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6061" y="5543811"/>
            <a:ext cx="1925342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6818" y="1187335"/>
            <a:ext cx="1983050" cy="900000"/>
          </a:xfrm>
          <a:prstGeom prst="rect">
            <a:avLst/>
          </a:prstGeom>
        </p:spPr>
      </p:pic>
      <p:grpSp>
        <p:nvGrpSpPr>
          <p:cNvPr id="56" name="Groupe 55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7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8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4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5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6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7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8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9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0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1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2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5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6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7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8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1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2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3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4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7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60986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6061" y="5543811"/>
            <a:ext cx="1925342" cy="792000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6818" y="1187335"/>
            <a:ext cx="1983050" cy="9000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89920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6000" y="5544000"/>
            <a:ext cx="1925346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6818" y="1187337"/>
            <a:ext cx="1983050" cy="899999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74745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6000" y="5544000"/>
            <a:ext cx="1925346" cy="792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6818" y="1187337"/>
            <a:ext cx="1983050" cy="899999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16202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36000" y="1260136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1267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36000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1267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36000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1267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36000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1267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36000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41267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36000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81723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076456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581723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76456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581723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076456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81723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076456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581723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76456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076456" y="5445226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4749666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40353" y="6201308"/>
            <a:ext cx="1006985" cy="43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468" y="6239979"/>
            <a:ext cx="827998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3331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40353" y="6201308"/>
            <a:ext cx="1006985" cy="43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468" y="6239979"/>
            <a:ext cx="827998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0224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74562" y="6067424"/>
            <a:ext cx="1176088" cy="483789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53" name="Image 52">
            <a:extLst>
              <a:ext uri="{FF2B5EF4-FFF2-40B4-BE49-F238E27FC236}">
                <a16:creationId xmlns:a16="http://schemas.microsoft.com/office/drawing/2014/main" id="{C43FF63E-3DC7-4135-AC43-6EF68FE26B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42706" y="498458"/>
            <a:ext cx="1831856" cy="740801"/>
          </a:xfrm>
          <a:prstGeom prst="rect">
            <a:avLst/>
          </a:prstGeom>
        </p:spPr>
      </p:pic>
      <p:pic>
        <p:nvPicPr>
          <p:cNvPr id="54" name="Image 53">
            <a:extLst>
              <a:ext uri="{FF2B5EF4-FFF2-40B4-BE49-F238E27FC236}">
                <a16:creationId xmlns:a16="http://schemas.microsoft.com/office/drawing/2014/main" id="{7D8AD1AB-B86C-4731-BB2B-4BE3AB30CBE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1450" y="606393"/>
            <a:ext cx="1059200" cy="52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6098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1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2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5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20530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1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4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5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6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0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08331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2093474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2231599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73197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1048610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>
            <a:off x="540000" y="972102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40000" y="1242000"/>
            <a:ext cx="806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7366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26551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9553553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540000" y="1291282"/>
            <a:ext cx="4032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882"/>
            <a:ext cx="3744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36890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126964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4547416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4874401" y="1306264"/>
            <a:ext cx="3730075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487518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36000" y="1260136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1267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36000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1267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36000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1267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36000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1267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36000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41267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36000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81723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076456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581723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76456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581723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076456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81723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076456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581723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76456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076456" y="5445226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31846723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1298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90381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11298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0381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4257655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6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7687106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78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41461116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40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5004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000" y="1242000"/>
            <a:ext cx="410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860000" y="1242000"/>
            <a:ext cx="374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056776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47753" y="5968402"/>
            <a:ext cx="1575284" cy="6480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5339" y="5981782"/>
            <a:ext cx="1427796" cy="648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232387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47753" y="5968402"/>
            <a:ext cx="1575284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5339" y="5981782"/>
            <a:ext cx="1427796" cy="6480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137770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47753" y="5968402"/>
            <a:ext cx="1575283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5339" y="5981784"/>
            <a:ext cx="1427796" cy="647999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60353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47753" y="5968402"/>
            <a:ext cx="1575283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5339" y="5981784"/>
            <a:ext cx="1427796" cy="647999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43429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0713" y="5547712"/>
            <a:ext cx="1925347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0475" y="2559571"/>
            <a:ext cx="1983052" cy="900000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853955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0713" y="5547712"/>
            <a:ext cx="1925347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0475" y="2559571"/>
            <a:ext cx="1983052" cy="900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56184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40353" y="6201308"/>
            <a:ext cx="1006985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94576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0712" y="5547712"/>
            <a:ext cx="1925346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0476" y="2559571"/>
            <a:ext cx="1983050" cy="900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022387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0712" y="5547712"/>
            <a:ext cx="1925346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0476" y="2559571"/>
            <a:ext cx="1983050" cy="900000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4" name="Groupe 53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10211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6061" y="5543811"/>
            <a:ext cx="1925342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7362" y="1251808"/>
            <a:ext cx="1980000" cy="731871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04282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6061" y="5543811"/>
            <a:ext cx="1925342" cy="79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7362" y="1251808"/>
            <a:ext cx="1980000" cy="731871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684003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6000" y="5544000"/>
            <a:ext cx="1925346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4" name="Image 53">
            <a:extLst>
              <a:ext uri="{FF2B5EF4-FFF2-40B4-BE49-F238E27FC236}">
                <a16:creationId xmlns:a16="http://schemas.microsoft.com/office/drawing/2014/main" id="{62069181-D8AE-4CBD-A6F6-430CFA93BA0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305" y="1365235"/>
            <a:ext cx="1800000" cy="207468"/>
          </a:xfrm>
          <a:prstGeom prst="rect">
            <a:avLst/>
          </a:prstGeom>
        </p:spPr>
      </p:pic>
      <p:pic>
        <p:nvPicPr>
          <p:cNvPr id="55" name="Image 54">
            <a:extLst>
              <a:ext uri="{FF2B5EF4-FFF2-40B4-BE49-F238E27FC236}">
                <a16:creationId xmlns:a16="http://schemas.microsoft.com/office/drawing/2014/main" id="{F3724178-D490-440A-9DEF-9FE45DA0DA7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9552" y="1065594"/>
            <a:ext cx="1980000" cy="73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92679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6000" y="5544000"/>
            <a:ext cx="1925346" cy="792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4" name="Image 53">
            <a:extLst>
              <a:ext uri="{FF2B5EF4-FFF2-40B4-BE49-F238E27FC236}">
                <a16:creationId xmlns:a16="http://schemas.microsoft.com/office/drawing/2014/main" id="{90398E00-5AEB-4025-8C01-F854C1086A5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305" y="1365235"/>
            <a:ext cx="1800000" cy="20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4736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36000" y="1260136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1267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36000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1267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36000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1267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36000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1267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36000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41267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36000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81723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076456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581723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76456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581723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076456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81723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076456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581723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76456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076456" y="5445226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426142018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40353" y="6201308"/>
            <a:ext cx="1006985" cy="432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6748" y="6317297"/>
            <a:ext cx="1218920" cy="450551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08690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40353" y="6201308"/>
            <a:ext cx="1006985" cy="432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6748" y="6317297"/>
            <a:ext cx="1218920" cy="450551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118855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1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2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5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354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40353" y="6201308"/>
            <a:ext cx="1006985" cy="432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955111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1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4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5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6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0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4789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447600" y="6318000"/>
            <a:ext cx="1220400" cy="450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9897287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6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447600" y="6318000"/>
            <a:ext cx="1220400" cy="450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417355530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6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447600" y="6318000"/>
            <a:ext cx="1220400" cy="450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70928197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6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447600" y="6318000"/>
            <a:ext cx="1220400" cy="450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71464130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>
            <a:off x="540000" y="972102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40000" y="1242000"/>
            <a:ext cx="806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7366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6535940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2192816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540000" y="1291282"/>
            <a:ext cx="4032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882"/>
            <a:ext cx="3744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36890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126964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200505617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4874401" y="1306264"/>
            <a:ext cx="3730075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783553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1298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90381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11298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0381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344729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4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1706768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6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8727761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78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38434143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40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5004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000" y="1242000"/>
            <a:ext cx="410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860000" y="1242000"/>
            <a:ext cx="374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43448335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326723" y="5803168"/>
            <a:ext cx="1295233" cy="5328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4088" y="5920765"/>
            <a:ext cx="1694666" cy="6264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42216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326723" y="5803168"/>
            <a:ext cx="1295233" cy="5328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4088" y="5920765"/>
            <a:ext cx="1694666" cy="6264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84294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326722" y="5803168"/>
            <a:ext cx="1295232" cy="5328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5" name="Image 54">
            <a:extLst>
              <a:ext uri="{FF2B5EF4-FFF2-40B4-BE49-F238E27FC236}">
                <a16:creationId xmlns:a16="http://schemas.microsoft.com/office/drawing/2014/main" id="{D7EDCD78-5E27-431E-AB4C-CC83D7AE295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6443" y="6128500"/>
            <a:ext cx="1800000" cy="20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88766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326722" y="5803168"/>
            <a:ext cx="1295232" cy="5328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7" name="Groupe 56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4" name="Image 53">
            <a:extLst>
              <a:ext uri="{FF2B5EF4-FFF2-40B4-BE49-F238E27FC236}">
                <a16:creationId xmlns:a16="http://schemas.microsoft.com/office/drawing/2014/main" id="{AD8DC4AA-C0B2-4413-B1DC-3F8C9B4BE0F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6443" y="6128500"/>
            <a:ext cx="1800000" cy="20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8992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0713" y="5547712"/>
            <a:ext cx="1925347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2000" y="2958686"/>
            <a:ext cx="1980000" cy="731869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897968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0713" y="5547712"/>
            <a:ext cx="1925347" cy="79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2000" y="2958686"/>
            <a:ext cx="1980000" cy="731869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58974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" y="0"/>
            <a:ext cx="3599998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690712" y="5547712"/>
            <a:ext cx="1925346" cy="792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52" name="Image 51">
            <a:extLst>
              <a:ext uri="{FF2B5EF4-FFF2-40B4-BE49-F238E27FC236}">
                <a16:creationId xmlns:a16="http://schemas.microsoft.com/office/drawing/2014/main" id="{4EA6D5CB-F8DB-4836-8186-9AC238DF42F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1999" y="2756118"/>
            <a:ext cx="1800000" cy="20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575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oleObject" Target="../embeddings/oleObject5.bin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tags" Target="../tags/tag6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image" Target="../media/image16.png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vmlDrawing" Target="../drawings/vmlDrawing5.v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theme" Target="../theme/theme3.xml"/><Relationship Id="rId35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92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oleObject" Target="../embeddings/oleObject6.bin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29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tags" Target="../tags/tag7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image" Target="../media/image25.jpeg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31" Type="http://schemas.openxmlformats.org/officeDocument/2006/relationships/vmlDrawing" Target="../drawings/vmlDrawing6.v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theme" Target="../theme/theme4.xml"/><Relationship Id="rId35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oleObject" Target="../embeddings/oleObject7.bin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tags" Target="../tags/tag8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vmlDrawing" Target="../drawings/vmlDrawing7.v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theme" Target="../theme/theme5.xml"/><Relationship Id="rId35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6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16D30993-BAC2-430C-B6FE-F6F174AD5134}"/>
              </a:ext>
            </a:extLst>
          </p:cNvPr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25200302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Diapositive think-cell" r:id="rId35" imgW="395" imgH="396" progId="TCLayout.ActiveDocument.1">
                  <p:embed/>
                </p:oleObj>
              </mc:Choice>
              <mc:Fallback>
                <p:oleObj name="Diapositive think-cell" r:id="rId35" imgW="395" imgH="39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16D30993-BAC2-430C-B6FE-F6F174AD51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198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40000" y="2"/>
            <a:ext cx="8064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40000" y="1242000"/>
            <a:ext cx="8064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Dat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862088" y="6192682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39551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6" cy="432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08" r:id="rId3"/>
    <p:sldLayoutId id="2147484004" r:id="rId4"/>
    <p:sldLayoutId id="2147483852" r:id="rId5"/>
    <p:sldLayoutId id="2147483825" r:id="rId6"/>
    <p:sldLayoutId id="2147483840" r:id="rId7"/>
    <p:sldLayoutId id="2147483841" r:id="rId8"/>
    <p:sldLayoutId id="2147483839" r:id="rId9"/>
    <p:sldLayoutId id="2147483853" r:id="rId10"/>
    <p:sldLayoutId id="2147483849" r:id="rId11"/>
    <p:sldLayoutId id="2147483820" r:id="rId12"/>
    <p:sldLayoutId id="2147483850" r:id="rId13"/>
    <p:sldLayoutId id="2147483851" r:id="rId14"/>
    <p:sldLayoutId id="2147483826" r:id="rId15"/>
    <p:sldLayoutId id="2147483827" r:id="rId16"/>
    <p:sldLayoutId id="2147483828" r:id="rId17"/>
    <p:sldLayoutId id="2147483829" r:id="rId18"/>
    <p:sldLayoutId id="2147483830" r:id="rId19"/>
    <p:sldLayoutId id="2147483833" r:id="rId20"/>
    <p:sldLayoutId id="2147483842" r:id="rId21"/>
    <p:sldLayoutId id="2147483832" r:id="rId22"/>
    <p:sldLayoutId id="2147483843" r:id="rId23"/>
    <p:sldLayoutId id="2147483822" r:id="rId24"/>
    <p:sldLayoutId id="2147483821" r:id="rId25"/>
    <p:sldLayoutId id="2147483854" r:id="rId26"/>
    <p:sldLayoutId id="2147483846" r:id="rId27"/>
    <p:sldLayoutId id="2147483824" r:id="rId28"/>
    <p:sldLayoutId id="2147483823" r:id="rId29"/>
    <p:sldLayoutId id="2147483855" r:id="rId30"/>
    <p:sldLayoutId id="2147484000" r:id="rId31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8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 14" hidden="1">
            <a:extLst>
              <a:ext uri="{FF2B5EF4-FFF2-40B4-BE49-F238E27FC236}">
                <a16:creationId xmlns:a16="http://schemas.microsoft.com/office/drawing/2014/main" id="{6D99FC00-C1EE-4AC6-8B3F-BCA76E8E52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95533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Diapositive think-cell" r:id="rId15" imgW="395" imgH="396" progId="TCLayout.ActiveDocument.1">
                  <p:embed/>
                </p:oleObj>
              </mc:Choice>
              <mc:Fallback>
                <p:oleObj name="Diapositive think-cell" r:id="rId15" imgW="395" imgH="396" progId="TCLayout.ActiveDocument.1">
                  <p:embed/>
                  <p:pic>
                    <p:nvPicPr>
                      <p:cNvPr id="15" name="Objet 14" hidden="1">
                        <a:extLst>
                          <a:ext uri="{FF2B5EF4-FFF2-40B4-BE49-F238E27FC236}">
                            <a16:creationId xmlns:a16="http://schemas.microsoft.com/office/drawing/2014/main" id="{6D99FC00-C1EE-4AC6-8B3F-BCA76E8E52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Espace réservé du numéro de diapositive 4">
            <a:extLst>
              <a:ext uri="{FF2B5EF4-FFF2-40B4-BE49-F238E27FC236}">
                <a16:creationId xmlns:a16="http://schemas.microsoft.com/office/drawing/2014/main" id="{3E9EFD1D-E4B4-4F4E-81A9-197FE89280B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9551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lnSpc>
                <a:spcPct val="90000"/>
              </a:lnSpc>
              <a:defRPr sz="9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3122C9-A0B9-462F-8757-0847AD287B63}" type="slidenum">
              <a:rPr lang="fr-FR" smtClean="0">
                <a:solidFill>
                  <a:srgbClr val="FA6414"/>
                </a:solidFill>
                <a:latin typeface="Arial"/>
              </a:rPr>
              <a:pPr/>
              <a:t>‹N°›</a:t>
            </a:fld>
            <a:endParaRPr lang="fr-FR" dirty="0">
              <a:solidFill>
                <a:srgbClr val="FA641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6169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  <p:sldLayoutId id="2147484014" r:id="rId9"/>
    <p:sldLayoutId id="2147484015" r:id="rId10"/>
    <p:sldLayoutId id="2147484016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AB43610B-BBC3-4BAD-B80C-4D1A06CAF7C5}"/>
              </a:ext>
            </a:extLst>
          </p:cNvPr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70414664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Diapositive think-cell" r:id="rId33" imgW="395" imgH="396" progId="TCLayout.ActiveDocument.1">
                  <p:embed/>
                </p:oleObj>
              </mc:Choice>
              <mc:Fallback>
                <p:oleObj name="Diapositive think-cell" r:id="rId33" imgW="395" imgH="39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AB43610B-BBC3-4BAD-B80C-4D1A06CAF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40000" y="2"/>
            <a:ext cx="8064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40000" y="1242000"/>
            <a:ext cx="8064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Dat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862088" y="6192682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39551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6" cy="43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466" y="6239979"/>
            <a:ext cx="828000" cy="375784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005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  <p:sldLayoutId id="2147483877" r:id="rId20"/>
    <p:sldLayoutId id="2147483878" r:id="rId21"/>
    <p:sldLayoutId id="2147483879" r:id="rId22"/>
    <p:sldLayoutId id="2147483880" r:id="rId23"/>
    <p:sldLayoutId id="2147483881" r:id="rId24"/>
    <p:sldLayoutId id="2147483882" r:id="rId25"/>
    <p:sldLayoutId id="2147483883" r:id="rId26"/>
    <p:sldLayoutId id="2147483884" r:id="rId27"/>
    <p:sldLayoutId id="2147483885" r:id="rId28"/>
    <p:sldLayoutId id="2147483886" r:id="rId29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7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0E2700FA-226F-4EA7-B1C0-E3A242ABC76E}"/>
              </a:ext>
            </a:extLst>
          </p:cNvPr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50488775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Diapositive think-cell" r:id="rId33" imgW="395" imgH="396" progId="TCLayout.ActiveDocument.1">
                  <p:embed/>
                </p:oleObj>
              </mc:Choice>
              <mc:Fallback>
                <p:oleObj name="Diapositive think-cell" r:id="rId33" imgW="395" imgH="39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0E2700FA-226F-4EA7-B1C0-E3A242ABC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40000" y="2"/>
            <a:ext cx="8064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40000" y="1242000"/>
            <a:ext cx="8064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Dat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862088" y="6192682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39551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6" cy="432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9" name="Image 8">
            <a:extLst>
              <a:ext uri="{FF2B5EF4-FFF2-40B4-BE49-F238E27FC236}">
                <a16:creationId xmlns:a16="http://schemas.microsoft.com/office/drawing/2014/main" id="{6BA34A67-5C2D-4CF4-909F-F58DAC196757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3932" y="6466505"/>
            <a:ext cx="1240742" cy="14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836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15" r:id="rId27"/>
    <p:sldLayoutId id="2147483916" r:id="rId28"/>
    <p:sldLayoutId id="2147483917" r:id="rId29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7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E8169567-916F-417F-9681-755FAB673A4E}"/>
              </a:ext>
            </a:extLst>
          </p:cNvPr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89168257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Diapositive think-cell" r:id="rId33" imgW="395" imgH="396" progId="TCLayout.ActiveDocument.1">
                  <p:embed/>
                </p:oleObj>
              </mc:Choice>
              <mc:Fallback>
                <p:oleObj name="Diapositive think-cell" r:id="rId33" imgW="395" imgH="39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E8169567-916F-417F-9681-755FAB673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40000" y="2"/>
            <a:ext cx="8064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40000" y="1242000"/>
            <a:ext cx="8064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Dat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862088" y="6192682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39551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6" cy="432000"/>
          </a:xfrm>
          <a:prstGeom prst="rect">
            <a:avLst/>
          </a:prstGeom>
        </p:spPr>
      </p:pic>
      <p:grpSp>
        <p:nvGrpSpPr>
          <p:cNvPr id="52" name="Groupe 51"/>
          <p:cNvGrpSpPr/>
          <p:nvPr/>
        </p:nvGrpSpPr>
        <p:grpSpPr>
          <a:xfrm>
            <a:off x="9363035" y="28361"/>
            <a:ext cx="4214248" cy="1943442"/>
            <a:chOff x="9363034" y="28361"/>
            <a:chExt cx="4214248" cy="1943442"/>
          </a:xfrm>
        </p:grpSpPr>
        <p:sp>
          <p:nvSpPr>
            <p:cNvPr id="5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8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3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4036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1" r:id="rId12"/>
    <p:sldLayoutId id="2147483932" r:id="rId13"/>
    <p:sldLayoutId id="2147483933" r:id="rId14"/>
    <p:sldLayoutId id="2147483934" r:id="rId15"/>
    <p:sldLayoutId id="2147483935" r:id="rId16"/>
    <p:sldLayoutId id="2147483936" r:id="rId17"/>
    <p:sldLayoutId id="2147483937" r:id="rId18"/>
    <p:sldLayoutId id="2147483938" r:id="rId19"/>
    <p:sldLayoutId id="2147483939" r:id="rId20"/>
    <p:sldLayoutId id="2147483940" r:id="rId21"/>
    <p:sldLayoutId id="2147483941" r:id="rId22"/>
    <p:sldLayoutId id="2147483942" r:id="rId23"/>
    <p:sldLayoutId id="2147483943" r:id="rId24"/>
    <p:sldLayoutId id="2147483944" r:id="rId25"/>
    <p:sldLayoutId id="2147483945" r:id="rId26"/>
    <p:sldLayoutId id="2147483946" r:id="rId27"/>
    <p:sldLayoutId id="2147483947" r:id="rId28"/>
    <p:sldLayoutId id="2147483948" r:id="rId29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6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AC7249B-B332-4307-A527-835617DEDFE8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0306125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Diapositive think-cell" r:id="rId7" imgW="395" imgH="396" progId="TCLayout.ActiveDocument.1">
                  <p:embed/>
                </p:oleObj>
              </mc:Choice>
              <mc:Fallback>
                <p:oleObj name="Diapositive think-cell" r:id="rId7" imgW="395" imgH="39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AC7249B-B332-4307-A527-835617DEDF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909DC04-8BE6-456A-92D4-895A2249A3E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fr-FR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922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7B63B09-5879-49BF-894D-528689F44A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ED9C3D4-2B59-423B-9863-1A52D06B37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D3E49F5-E997-42F7-BF42-0A6C0E17B9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AF3F52A-E5A7-46C4-81DB-E77696BD5C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27AFA28-F661-4A3C-BC0B-E9A4889527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</a:t>
            </a:fld>
            <a:endParaRPr lang="fr-FR" dirty="0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4F473F94-8E19-43AF-93BB-77984B2DDB66}"/>
              </a:ext>
            </a:extLst>
          </p:cNvPr>
          <p:cNvGrpSpPr/>
          <p:nvPr/>
        </p:nvGrpSpPr>
        <p:grpSpPr>
          <a:xfrm>
            <a:off x="1158270" y="1413282"/>
            <a:ext cx="6827459" cy="4343639"/>
            <a:chOff x="978250" y="1617324"/>
            <a:chExt cx="6827459" cy="4343639"/>
          </a:xfrm>
        </p:grpSpPr>
        <p:grpSp>
          <p:nvGrpSpPr>
            <p:cNvPr id="9" name="POWER_USER_DATA_MAP" descr="{&quot;IsGrandientColor&quot;:true,&quot;GradientColor&quot;:&quot;#D9D9D9&quot;,&quot;IsRangesColor&quot;:false,&quot;RangesSettings&quot;:[{&quot;RangeColorHexa&quot;:&quot;#FBF315&quot;,&quot;ComparisonValue&quot;:1.0,&quot;RangeOperator&quot;:1,&quot;RangeComparison&quot;:0},{&quot;RangeColorHexa&quot;:&quot;#FA6414&quot;,&quot;ComparisonValue&quot;:1.0,&quot;RangeOperator&quot;:1,&quot;RangeComparison&quot;:0}],&quot;RangeName&quot;:&quot;POWER_USER_EXCEL_MAP_870EF0D5_BE18_4792_B113_A9B6181FC60B&quot;,&quot;Version&quot;:&quot;1.6.1144.0&quot;}">
              <a:extLst>
                <a:ext uri="{FF2B5EF4-FFF2-40B4-BE49-F238E27FC236}">
                  <a16:creationId xmlns:a16="http://schemas.microsoft.com/office/drawing/2014/main" id="{26096526-80F7-46B8-A9C0-9124A807795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78250" y="1838036"/>
              <a:ext cx="6827459" cy="4122927"/>
              <a:chOff x="618837" y="1676786"/>
              <a:chExt cx="7906326" cy="4774427"/>
            </a:xfrm>
          </p:grpSpPr>
          <p:grpSp>
            <p:nvGrpSpPr>
              <p:cNvPr id="24" name="World_continents_1">
                <a:extLst>
                  <a:ext uri="{FF2B5EF4-FFF2-40B4-BE49-F238E27FC236}">
                    <a16:creationId xmlns:a16="http://schemas.microsoft.com/office/drawing/2014/main" id="{4FD16D4C-B50D-4DEB-88C0-86824400EFC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18837" y="1676786"/>
                <a:ext cx="7906326" cy="4774427"/>
                <a:chOff x="1892976" y="1278125"/>
                <a:chExt cx="7906326" cy="4774427"/>
              </a:xfrm>
            </p:grpSpPr>
            <p:grpSp>
              <p:nvGrpSpPr>
                <p:cNvPr id="26" name="World_continents">
                  <a:extLst>
                    <a:ext uri="{FF2B5EF4-FFF2-40B4-BE49-F238E27FC236}">
                      <a16:creationId xmlns:a16="http://schemas.microsoft.com/office/drawing/2014/main" id="{68261D64-1EC5-43D7-A9E4-CA9FB163DC5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18800" y="1278125"/>
                  <a:ext cx="7380502" cy="4774427"/>
                  <a:chOff x="2418800" y="1278125"/>
                  <a:chExt cx="7380502" cy="4774427"/>
                </a:xfrm>
              </p:grpSpPr>
              <p:grpSp>
                <p:nvGrpSpPr>
                  <p:cNvPr id="52" name="Map">
                    <a:extLst>
                      <a:ext uri="{FF2B5EF4-FFF2-40B4-BE49-F238E27FC236}">
                        <a16:creationId xmlns:a16="http://schemas.microsoft.com/office/drawing/2014/main" id="{E191EB21-256A-46C0-B242-E9EC6261C278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2418800" y="1278125"/>
                    <a:ext cx="7380502" cy="4774427"/>
                    <a:chOff x="1691" y="0"/>
                    <a:chExt cx="6188" cy="4003"/>
                  </a:xfrm>
                </p:grpSpPr>
                <p:sp>
                  <p:nvSpPr>
                    <p:cNvPr id="60" name="South America" descr="{&quot;Key&quot;:&quot;south america&quot;,&quot;Name&quot;:&quot;South America&quot;,&quot;Value&quot;:1.0,&quot;Formula&quot;:&quot;&quot;,&quot;Text&quot;:&quot;&quot;,&quot;OfficeApplication&quot;:1,&quot;HasValue&quot;:true}">
                      <a:extLst>
                        <a:ext uri="{FF2B5EF4-FFF2-40B4-BE49-F238E27FC236}">
                          <a16:creationId xmlns:a16="http://schemas.microsoft.com/office/drawing/2014/main" id="{B5B097D7-8CA8-4E7F-ADD7-00E779F28325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3206" y="2635"/>
                      <a:ext cx="803" cy="1368"/>
                    </a:xfrm>
                    <a:custGeom>
                      <a:avLst/>
                      <a:gdLst>
                        <a:gd name="T0" fmla="*/ 353 w 803"/>
                        <a:gd name="T1" fmla="*/ 40 h 1368"/>
                        <a:gd name="T2" fmla="*/ 369 w 803"/>
                        <a:gd name="T3" fmla="*/ 1242 h 1368"/>
                        <a:gd name="T4" fmla="*/ 402 w 803"/>
                        <a:gd name="T5" fmla="*/ 1259 h 1368"/>
                        <a:gd name="T6" fmla="*/ 795 w 803"/>
                        <a:gd name="T7" fmla="*/ 309 h 1368"/>
                        <a:gd name="T8" fmla="*/ 714 w 803"/>
                        <a:gd name="T9" fmla="*/ 264 h 1368"/>
                        <a:gd name="T10" fmla="*/ 628 w 803"/>
                        <a:gd name="T11" fmla="*/ 241 h 1368"/>
                        <a:gd name="T12" fmla="*/ 534 w 803"/>
                        <a:gd name="T13" fmla="*/ 215 h 1368"/>
                        <a:gd name="T14" fmla="*/ 522 w 803"/>
                        <a:gd name="T15" fmla="*/ 152 h 1368"/>
                        <a:gd name="T16" fmla="*/ 479 w 803"/>
                        <a:gd name="T17" fmla="*/ 118 h 1368"/>
                        <a:gd name="T18" fmla="*/ 418 w 803"/>
                        <a:gd name="T19" fmla="*/ 112 h 1368"/>
                        <a:gd name="T20" fmla="*/ 384 w 803"/>
                        <a:gd name="T21" fmla="*/ 77 h 1368"/>
                        <a:gd name="T22" fmla="*/ 341 w 803"/>
                        <a:gd name="T23" fmla="*/ 44 h 1368"/>
                        <a:gd name="T24" fmla="*/ 295 w 803"/>
                        <a:gd name="T25" fmla="*/ 31 h 1368"/>
                        <a:gd name="T26" fmla="*/ 243 w 803"/>
                        <a:gd name="T27" fmla="*/ 32 h 1368"/>
                        <a:gd name="T28" fmla="*/ 198 w 803"/>
                        <a:gd name="T29" fmla="*/ 5 h 1368"/>
                        <a:gd name="T30" fmla="*/ 178 w 803"/>
                        <a:gd name="T31" fmla="*/ 44 h 1368"/>
                        <a:gd name="T32" fmla="*/ 169 w 803"/>
                        <a:gd name="T33" fmla="*/ 26 h 1368"/>
                        <a:gd name="T34" fmla="*/ 172 w 803"/>
                        <a:gd name="T35" fmla="*/ 1 h 1368"/>
                        <a:gd name="T36" fmla="*/ 125 w 803"/>
                        <a:gd name="T37" fmla="*/ 20 h 1368"/>
                        <a:gd name="T38" fmla="*/ 99 w 803"/>
                        <a:gd name="T39" fmla="*/ 52 h 1368"/>
                        <a:gd name="T40" fmla="*/ 73 w 803"/>
                        <a:gd name="T41" fmla="*/ 78 h 1368"/>
                        <a:gd name="T42" fmla="*/ 71 w 803"/>
                        <a:gd name="T43" fmla="*/ 114 h 1368"/>
                        <a:gd name="T44" fmla="*/ 68 w 803"/>
                        <a:gd name="T45" fmla="*/ 157 h 1368"/>
                        <a:gd name="T46" fmla="*/ 42 w 803"/>
                        <a:gd name="T47" fmla="*/ 186 h 1368"/>
                        <a:gd name="T48" fmla="*/ 17 w 803"/>
                        <a:gd name="T49" fmla="*/ 220 h 1368"/>
                        <a:gd name="T50" fmla="*/ 19 w 803"/>
                        <a:gd name="T51" fmla="*/ 261 h 1368"/>
                        <a:gd name="T52" fmla="*/ 0 w 803"/>
                        <a:gd name="T53" fmla="*/ 295 h 1368"/>
                        <a:gd name="T54" fmla="*/ 34 w 803"/>
                        <a:gd name="T55" fmla="*/ 350 h 1368"/>
                        <a:gd name="T56" fmla="*/ 86 w 803"/>
                        <a:gd name="T57" fmla="*/ 453 h 1368"/>
                        <a:gd name="T58" fmla="*/ 172 w 803"/>
                        <a:gd name="T59" fmla="*/ 524 h 1368"/>
                        <a:gd name="T60" fmla="*/ 184 w 803"/>
                        <a:gd name="T61" fmla="*/ 670 h 1368"/>
                        <a:gd name="T62" fmla="*/ 172 w 803"/>
                        <a:gd name="T63" fmla="*/ 802 h 1368"/>
                        <a:gd name="T64" fmla="*/ 135 w 803"/>
                        <a:gd name="T65" fmla="*/ 925 h 1368"/>
                        <a:gd name="T66" fmla="*/ 132 w 803"/>
                        <a:gd name="T67" fmla="*/ 1041 h 1368"/>
                        <a:gd name="T68" fmla="*/ 115 w 803"/>
                        <a:gd name="T69" fmla="*/ 1099 h 1368"/>
                        <a:gd name="T70" fmla="*/ 102 w 803"/>
                        <a:gd name="T71" fmla="*/ 1217 h 1368"/>
                        <a:gd name="T72" fmla="*/ 152 w 803"/>
                        <a:gd name="T73" fmla="*/ 1307 h 1368"/>
                        <a:gd name="T74" fmla="*/ 206 w 803"/>
                        <a:gd name="T75" fmla="*/ 1271 h 1368"/>
                        <a:gd name="T76" fmla="*/ 218 w 803"/>
                        <a:gd name="T77" fmla="*/ 1214 h 1368"/>
                        <a:gd name="T78" fmla="*/ 255 w 803"/>
                        <a:gd name="T79" fmla="*/ 1131 h 1368"/>
                        <a:gd name="T80" fmla="*/ 277 w 803"/>
                        <a:gd name="T81" fmla="*/ 1068 h 1368"/>
                        <a:gd name="T82" fmla="*/ 295 w 803"/>
                        <a:gd name="T83" fmla="*/ 1018 h 1368"/>
                        <a:gd name="T84" fmla="*/ 321 w 803"/>
                        <a:gd name="T85" fmla="*/ 987 h 1368"/>
                        <a:gd name="T86" fmla="*/ 347 w 803"/>
                        <a:gd name="T87" fmla="*/ 939 h 1368"/>
                        <a:gd name="T88" fmla="*/ 413 w 803"/>
                        <a:gd name="T89" fmla="*/ 876 h 1368"/>
                        <a:gd name="T90" fmla="*/ 418 w 803"/>
                        <a:gd name="T91" fmla="*/ 844 h 1368"/>
                        <a:gd name="T92" fmla="*/ 482 w 803"/>
                        <a:gd name="T93" fmla="*/ 830 h 1368"/>
                        <a:gd name="T94" fmla="*/ 548 w 803"/>
                        <a:gd name="T95" fmla="*/ 738 h 1368"/>
                        <a:gd name="T96" fmla="*/ 566 w 803"/>
                        <a:gd name="T97" fmla="*/ 673 h 1368"/>
                        <a:gd name="T98" fmla="*/ 660 w 803"/>
                        <a:gd name="T99" fmla="*/ 619 h 1368"/>
                        <a:gd name="T100" fmla="*/ 717 w 803"/>
                        <a:gd name="T101" fmla="*/ 556 h 1368"/>
                        <a:gd name="T102" fmla="*/ 731 w 803"/>
                        <a:gd name="T103" fmla="*/ 453 h 1368"/>
                        <a:gd name="T104" fmla="*/ 787 w 803"/>
                        <a:gd name="T105" fmla="*/ 380 h 1368"/>
                        <a:gd name="T106" fmla="*/ 227 w 803"/>
                        <a:gd name="T107" fmla="*/ 1293 h 1368"/>
                        <a:gd name="T108" fmla="*/ 177 w 803"/>
                        <a:gd name="T109" fmla="*/ 1322 h 1368"/>
                        <a:gd name="T110" fmla="*/ 157 w 803"/>
                        <a:gd name="T111" fmla="*/ 1334 h 1368"/>
                        <a:gd name="T112" fmla="*/ 229 w 803"/>
                        <a:gd name="T113" fmla="*/ 1368 h 1368"/>
                        <a:gd name="T114" fmla="*/ 281 w 803"/>
                        <a:gd name="T115" fmla="*/ 1340 h 13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803" h="1368">
                          <a:moveTo>
                            <a:pt x="339" y="35"/>
                          </a:moveTo>
                          <a:lnTo>
                            <a:pt x="339" y="29"/>
                          </a:lnTo>
                          <a:lnTo>
                            <a:pt x="350" y="26"/>
                          </a:lnTo>
                          <a:lnTo>
                            <a:pt x="353" y="28"/>
                          </a:lnTo>
                          <a:lnTo>
                            <a:pt x="353" y="40"/>
                          </a:lnTo>
                          <a:lnTo>
                            <a:pt x="338" y="43"/>
                          </a:lnTo>
                          <a:lnTo>
                            <a:pt x="335" y="41"/>
                          </a:lnTo>
                          <a:lnTo>
                            <a:pt x="339" y="35"/>
                          </a:lnTo>
                          <a:close/>
                          <a:moveTo>
                            <a:pt x="384" y="1248"/>
                          </a:moveTo>
                          <a:lnTo>
                            <a:pt x="369" y="1242"/>
                          </a:lnTo>
                          <a:lnTo>
                            <a:pt x="349" y="1259"/>
                          </a:lnTo>
                          <a:lnTo>
                            <a:pt x="356" y="1271"/>
                          </a:lnTo>
                          <a:lnTo>
                            <a:pt x="372" y="1259"/>
                          </a:lnTo>
                          <a:lnTo>
                            <a:pt x="379" y="1268"/>
                          </a:lnTo>
                          <a:lnTo>
                            <a:pt x="402" y="1259"/>
                          </a:lnTo>
                          <a:lnTo>
                            <a:pt x="407" y="1250"/>
                          </a:lnTo>
                          <a:lnTo>
                            <a:pt x="393" y="1237"/>
                          </a:lnTo>
                          <a:lnTo>
                            <a:pt x="384" y="1248"/>
                          </a:lnTo>
                          <a:close/>
                          <a:moveTo>
                            <a:pt x="801" y="330"/>
                          </a:moveTo>
                          <a:lnTo>
                            <a:pt x="795" y="309"/>
                          </a:lnTo>
                          <a:lnTo>
                            <a:pt x="789" y="303"/>
                          </a:lnTo>
                          <a:lnTo>
                            <a:pt x="773" y="303"/>
                          </a:lnTo>
                          <a:lnTo>
                            <a:pt x="761" y="297"/>
                          </a:lnTo>
                          <a:lnTo>
                            <a:pt x="738" y="278"/>
                          </a:lnTo>
                          <a:lnTo>
                            <a:pt x="714" y="264"/>
                          </a:lnTo>
                          <a:lnTo>
                            <a:pt x="688" y="264"/>
                          </a:lnTo>
                          <a:lnTo>
                            <a:pt x="654" y="255"/>
                          </a:lnTo>
                          <a:lnTo>
                            <a:pt x="634" y="261"/>
                          </a:lnTo>
                          <a:lnTo>
                            <a:pt x="637" y="250"/>
                          </a:lnTo>
                          <a:lnTo>
                            <a:pt x="628" y="241"/>
                          </a:lnTo>
                          <a:lnTo>
                            <a:pt x="600" y="230"/>
                          </a:lnTo>
                          <a:lnTo>
                            <a:pt x="579" y="224"/>
                          </a:lnTo>
                          <a:lnTo>
                            <a:pt x="565" y="235"/>
                          </a:lnTo>
                          <a:lnTo>
                            <a:pt x="565" y="218"/>
                          </a:lnTo>
                          <a:lnTo>
                            <a:pt x="534" y="215"/>
                          </a:lnTo>
                          <a:lnTo>
                            <a:pt x="528" y="211"/>
                          </a:lnTo>
                          <a:lnTo>
                            <a:pt x="542" y="197"/>
                          </a:lnTo>
                          <a:lnTo>
                            <a:pt x="540" y="184"/>
                          </a:lnTo>
                          <a:lnTo>
                            <a:pt x="531" y="181"/>
                          </a:lnTo>
                          <a:lnTo>
                            <a:pt x="522" y="152"/>
                          </a:lnTo>
                          <a:lnTo>
                            <a:pt x="517" y="143"/>
                          </a:lnTo>
                          <a:lnTo>
                            <a:pt x="513" y="143"/>
                          </a:lnTo>
                          <a:lnTo>
                            <a:pt x="510" y="137"/>
                          </a:lnTo>
                          <a:lnTo>
                            <a:pt x="491" y="121"/>
                          </a:lnTo>
                          <a:lnTo>
                            <a:pt x="479" y="118"/>
                          </a:lnTo>
                          <a:lnTo>
                            <a:pt x="473" y="115"/>
                          </a:lnTo>
                          <a:lnTo>
                            <a:pt x="454" y="111"/>
                          </a:lnTo>
                          <a:lnTo>
                            <a:pt x="441" y="112"/>
                          </a:lnTo>
                          <a:lnTo>
                            <a:pt x="438" y="115"/>
                          </a:lnTo>
                          <a:lnTo>
                            <a:pt x="418" y="112"/>
                          </a:lnTo>
                          <a:lnTo>
                            <a:pt x="412" y="106"/>
                          </a:lnTo>
                          <a:lnTo>
                            <a:pt x="402" y="98"/>
                          </a:lnTo>
                          <a:lnTo>
                            <a:pt x="395" y="97"/>
                          </a:lnTo>
                          <a:lnTo>
                            <a:pt x="395" y="88"/>
                          </a:lnTo>
                          <a:lnTo>
                            <a:pt x="384" y="77"/>
                          </a:lnTo>
                          <a:lnTo>
                            <a:pt x="373" y="71"/>
                          </a:lnTo>
                          <a:lnTo>
                            <a:pt x="365" y="66"/>
                          </a:lnTo>
                          <a:lnTo>
                            <a:pt x="358" y="68"/>
                          </a:lnTo>
                          <a:lnTo>
                            <a:pt x="355" y="54"/>
                          </a:lnTo>
                          <a:lnTo>
                            <a:pt x="341" y="44"/>
                          </a:lnTo>
                          <a:lnTo>
                            <a:pt x="327" y="43"/>
                          </a:lnTo>
                          <a:lnTo>
                            <a:pt x="321" y="35"/>
                          </a:lnTo>
                          <a:lnTo>
                            <a:pt x="336" y="29"/>
                          </a:lnTo>
                          <a:lnTo>
                            <a:pt x="316" y="31"/>
                          </a:lnTo>
                          <a:lnTo>
                            <a:pt x="295" y="31"/>
                          </a:lnTo>
                          <a:lnTo>
                            <a:pt x="295" y="35"/>
                          </a:lnTo>
                          <a:lnTo>
                            <a:pt x="284" y="41"/>
                          </a:lnTo>
                          <a:lnTo>
                            <a:pt x="272" y="38"/>
                          </a:lnTo>
                          <a:lnTo>
                            <a:pt x="261" y="31"/>
                          </a:lnTo>
                          <a:lnTo>
                            <a:pt x="243" y="32"/>
                          </a:lnTo>
                          <a:lnTo>
                            <a:pt x="227" y="32"/>
                          </a:lnTo>
                          <a:lnTo>
                            <a:pt x="227" y="26"/>
                          </a:lnTo>
                          <a:lnTo>
                            <a:pt x="215" y="17"/>
                          </a:lnTo>
                          <a:lnTo>
                            <a:pt x="204" y="17"/>
                          </a:lnTo>
                          <a:lnTo>
                            <a:pt x="198" y="5"/>
                          </a:lnTo>
                          <a:lnTo>
                            <a:pt x="192" y="11"/>
                          </a:lnTo>
                          <a:lnTo>
                            <a:pt x="194" y="18"/>
                          </a:lnTo>
                          <a:lnTo>
                            <a:pt x="172" y="26"/>
                          </a:lnTo>
                          <a:lnTo>
                            <a:pt x="174" y="38"/>
                          </a:lnTo>
                          <a:lnTo>
                            <a:pt x="178" y="44"/>
                          </a:lnTo>
                          <a:lnTo>
                            <a:pt x="175" y="57"/>
                          </a:lnTo>
                          <a:lnTo>
                            <a:pt x="168" y="58"/>
                          </a:lnTo>
                          <a:lnTo>
                            <a:pt x="161" y="44"/>
                          </a:lnTo>
                          <a:lnTo>
                            <a:pt x="169" y="34"/>
                          </a:lnTo>
                          <a:lnTo>
                            <a:pt x="169" y="26"/>
                          </a:lnTo>
                          <a:lnTo>
                            <a:pt x="163" y="17"/>
                          </a:lnTo>
                          <a:lnTo>
                            <a:pt x="174" y="15"/>
                          </a:lnTo>
                          <a:lnTo>
                            <a:pt x="174" y="11"/>
                          </a:lnTo>
                          <a:lnTo>
                            <a:pt x="177" y="6"/>
                          </a:lnTo>
                          <a:lnTo>
                            <a:pt x="172" y="1"/>
                          </a:lnTo>
                          <a:lnTo>
                            <a:pt x="166" y="0"/>
                          </a:lnTo>
                          <a:lnTo>
                            <a:pt x="158" y="8"/>
                          </a:lnTo>
                          <a:lnTo>
                            <a:pt x="151" y="12"/>
                          </a:lnTo>
                          <a:lnTo>
                            <a:pt x="138" y="21"/>
                          </a:lnTo>
                          <a:lnTo>
                            <a:pt x="125" y="20"/>
                          </a:lnTo>
                          <a:lnTo>
                            <a:pt x="123" y="23"/>
                          </a:lnTo>
                          <a:lnTo>
                            <a:pt x="112" y="23"/>
                          </a:lnTo>
                          <a:lnTo>
                            <a:pt x="102" y="32"/>
                          </a:lnTo>
                          <a:lnTo>
                            <a:pt x="99" y="46"/>
                          </a:lnTo>
                          <a:lnTo>
                            <a:pt x="99" y="52"/>
                          </a:lnTo>
                          <a:lnTo>
                            <a:pt x="92" y="54"/>
                          </a:lnTo>
                          <a:lnTo>
                            <a:pt x="79" y="66"/>
                          </a:lnTo>
                          <a:lnTo>
                            <a:pt x="69" y="66"/>
                          </a:lnTo>
                          <a:lnTo>
                            <a:pt x="68" y="68"/>
                          </a:lnTo>
                          <a:lnTo>
                            <a:pt x="73" y="78"/>
                          </a:lnTo>
                          <a:lnTo>
                            <a:pt x="69" y="83"/>
                          </a:lnTo>
                          <a:lnTo>
                            <a:pt x="63" y="81"/>
                          </a:lnTo>
                          <a:lnTo>
                            <a:pt x="62" y="91"/>
                          </a:lnTo>
                          <a:lnTo>
                            <a:pt x="68" y="100"/>
                          </a:lnTo>
                          <a:lnTo>
                            <a:pt x="71" y="114"/>
                          </a:lnTo>
                          <a:lnTo>
                            <a:pt x="66" y="118"/>
                          </a:lnTo>
                          <a:lnTo>
                            <a:pt x="71" y="135"/>
                          </a:lnTo>
                          <a:lnTo>
                            <a:pt x="68" y="144"/>
                          </a:lnTo>
                          <a:lnTo>
                            <a:pt x="74" y="149"/>
                          </a:lnTo>
                          <a:lnTo>
                            <a:pt x="68" y="157"/>
                          </a:lnTo>
                          <a:lnTo>
                            <a:pt x="60" y="167"/>
                          </a:lnTo>
                          <a:lnTo>
                            <a:pt x="51" y="169"/>
                          </a:lnTo>
                          <a:lnTo>
                            <a:pt x="48" y="175"/>
                          </a:lnTo>
                          <a:lnTo>
                            <a:pt x="48" y="184"/>
                          </a:lnTo>
                          <a:lnTo>
                            <a:pt x="42" y="186"/>
                          </a:lnTo>
                          <a:lnTo>
                            <a:pt x="45" y="191"/>
                          </a:lnTo>
                          <a:lnTo>
                            <a:pt x="33" y="198"/>
                          </a:lnTo>
                          <a:lnTo>
                            <a:pt x="23" y="201"/>
                          </a:lnTo>
                          <a:lnTo>
                            <a:pt x="23" y="209"/>
                          </a:lnTo>
                          <a:lnTo>
                            <a:pt x="17" y="220"/>
                          </a:lnTo>
                          <a:lnTo>
                            <a:pt x="14" y="230"/>
                          </a:lnTo>
                          <a:lnTo>
                            <a:pt x="8" y="232"/>
                          </a:lnTo>
                          <a:lnTo>
                            <a:pt x="11" y="247"/>
                          </a:lnTo>
                          <a:lnTo>
                            <a:pt x="8" y="254"/>
                          </a:lnTo>
                          <a:lnTo>
                            <a:pt x="19" y="261"/>
                          </a:lnTo>
                          <a:lnTo>
                            <a:pt x="25" y="252"/>
                          </a:lnTo>
                          <a:lnTo>
                            <a:pt x="28" y="260"/>
                          </a:lnTo>
                          <a:lnTo>
                            <a:pt x="19" y="274"/>
                          </a:lnTo>
                          <a:lnTo>
                            <a:pt x="5" y="284"/>
                          </a:lnTo>
                          <a:lnTo>
                            <a:pt x="0" y="295"/>
                          </a:lnTo>
                          <a:lnTo>
                            <a:pt x="8" y="312"/>
                          </a:lnTo>
                          <a:lnTo>
                            <a:pt x="3" y="320"/>
                          </a:lnTo>
                          <a:lnTo>
                            <a:pt x="16" y="327"/>
                          </a:lnTo>
                          <a:lnTo>
                            <a:pt x="28" y="338"/>
                          </a:lnTo>
                          <a:lnTo>
                            <a:pt x="34" y="350"/>
                          </a:lnTo>
                          <a:lnTo>
                            <a:pt x="42" y="358"/>
                          </a:lnTo>
                          <a:lnTo>
                            <a:pt x="57" y="393"/>
                          </a:lnTo>
                          <a:lnTo>
                            <a:pt x="74" y="426"/>
                          </a:lnTo>
                          <a:lnTo>
                            <a:pt x="89" y="449"/>
                          </a:lnTo>
                          <a:lnTo>
                            <a:pt x="86" y="453"/>
                          </a:lnTo>
                          <a:lnTo>
                            <a:pt x="92" y="469"/>
                          </a:lnTo>
                          <a:lnTo>
                            <a:pt x="106" y="480"/>
                          </a:lnTo>
                          <a:lnTo>
                            <a:pt x="137" y="498"/>
                          </a:lnTo>
                          <a:lnTo>
                            <a:pt x="171" y="516"/>
                          </a:lnTo>
                          <a:lnTo>
                            <a:pt x="172" y="524"/>
                          </a:lnTo>
                          <a:lnTo>
                            <a:pt x="191" y="535"/>
                          </a:lnTo>
                          <a:lnTo>
                            <a:pt x="194" y="559"/>
                          </a:lnTo>
                          <a:lnTo>
                            <a:pt x="195" y="590"/>
                          </a:lnTo>
                          <a:lnTo>
                            <a:pt x="189" y="632"/>
                          </a:lnTo>
                          <a:lnTo>
                            <a:pt x="184" y="670"/>
                          </a:lnTo>
                          <a:lnTo>
                            <a:pt x="181" y="707"/>
                          </a:lnTo>
                          <a:lnTo>
                            <a:pt x="171" y="732"/>
                          </a:lnTo>
                          <a:lnTo>
                            <a:pt x="172" y="756"/>
                          </a:lnTo>
                          <a:lnTo>
                            <a:pt x="168" y="772"/>
                          </a:lnTo>
                          <a:lnTo>
                            <a:pt x="172" y="802"/>
                          </a:lnTo>
                          <a:lnTo>
                            <a:pt x="165" y="833"/>
                          </a:lnTo>
                          <a:lnTo>
                            <a:pt x="152" y="867"/>
                          </a:lnTo>
                          <a:lnTo>
                            <a:pt x="142" y="901"/>
                          </a:lnTo>
                          <a:lnTo>
                            <a:pt x="135" y="901"/>
                          </a:lnTo>
                          <a:lnTo>
                            <a:pt x="135" y="925"/>
                          </a:lnTo>
                          <a:lnTo>
                            <a:pt x="142" y="947"/>
                          </a:lnTo>
                          <a:lnTo>
                            <a:pt x="134" y="962"/>
                          </a:lnTo>
                          <a:lnTo>
                            <a:pt x="128" y="1005"/>
                          </a:lnTo>
                          <a:lnTo>
                            <a:pt x="122" y="1038"/>
                          </a:lnTo>
                          <a:lnTo>
                            <a:pt x="132" y="1041"/>
                          </a:lnTo>
                          <a:lnTo>
                            <a:pt x="138" y="1011"/>
                          </a:lnTo>
                          <a:lnTo>
                            <a:pt x="149" y="1018"/>
                          </a:lnTo>
                          <a:lnTo>
                            <a:pt x="140" y="1067"/>
                          </a:lnTo>
                          <a:lnTo>
                            <a:pt x="122" y="1059"/>
                          </a:lnTo>
                          <a:lnTo>
                            <a:pt x="115" y="1099"/>
                          </a:lnTo>
                          <a:lnTo>
                            <a:pt x="100" y="1121"/>
                          </a:lnTo>
                          <a:lnTo>
                            <a:pt x="126" y="1128"/>
                          </a:lnTo>
                          <a:lnTo>
                            <a:pt x="108" y="1148"/>
                          </a:lnTo>
                          <a:lnTo>
                            <a:pt x="100" y="1173"/>
                          </a:lnTo>
                          <a:lnTo>
                            <a:pt x="102" y="1217"/>
                          </a:lnTo>
                          <a:lnTo>
                            <a:pt x="111" y="1236"/>
                          </a:lnTo>
                          <a:lnTo>
                            <a:pt x="106" y="1253"/>
                          </a:lnTo>
                          <a:lnTo>
                            <a:pt x="111" y="1270"/>
                          </a:lnTo>
                          <a:lnTo>
                            <a:pt x="132" y="1287"/>
                          </a:lnTo>
                          <a:lnTo>
                            <a:pt x="152" y="1307"/>
                          </a:lnTo>
                          <a:lnTo>
                            <a:pt x="172" y="1316"/>
                          </a:lnTo>
                          <a:lnTo>
                            <a:pt x="180" y="1314"/>
                          </a:lnTo>
                          <a:lnTo>
                            <a:pt x="181" y="1288"/>
                          </a:lnTo>
                          <a:lnTo>
                            <a:pt x="198" y="1277"/>
                          </a:lnTo>
                          <a:lnTo>
                            <a:pt x="206" y="1271"/>
                          </a:lnTo>
                          <a:lnTo>
                            <a:pt x="221" y="1271"/>
                          </a:lnTo>
                          <a:lnTo>
                            <a:pt x="229" y="1273"/>
                          </a:lnTo>
                          <a:lnTo>
                            <a:pt x="217" y="1256"/>
                          </a:lnTo>
                          <a:lnTo>
                            <a:pt x="211" y="1228"/>
                          </a:lnTo>
                          <a:lnTo>
                            <a:pt x="218" y="1214"/>
                          </a:lnTo>
                          <a:lnTo>
                            <a:pt x="234" y="1204"/>
                          </a:lnTo>
                          <a:lnTo>
                            <a:pt x="246" y="1173"/>
                          </a:lnTo>
                          <a:lnTo>
                            <a:pt x="266" y="1159"/>
                          </a:lnTo>
                          <a:lnTo>
                            <a:pt x="272" y="1136"/>
                          </a:lnTo>
                          <a:lnTo>
                            <a:pt x="255" y="1131"/>
                          </a:lnTo>
                          <a:lnTo>
                            <a:pt x="238" y="1113"/>
                          </a:lnTo>
                          <a:lnTo>
                            <a:pt x="243" y="1094"/>
                          </a:lnTo>
                          <a:lnTo>
                            <a:pt x="257" y="1081"/>
                          </a:lnTo>
                          <a:lnTo>
                            <a:pt x="273" y="1081"/>
                          </a:lnTo>
                          <a:lnTo>
                            <a:pt x="277" y="1068"/>
                          </a:lnTo>
                          <a:lnTo>
                            <a:pt x="280" y="1044"/>
                          </a:lnTo>
                          <a:lnTo>
                            <a:pt x="293" y="1030"/>
                          </a:lnTo>
                          <a:lnTo>
                            <a:pt x="309" y="1022"/>
                          </a:lnTo>
                          <a:lnTo>
                            <a:pt x="304" y="1010"/>
                          </a:lnTo>
                          <a:lnTo>
                            <a:pt x="295" y="1018"/>
                          </a:lnTo>
                          <a:lnTo>
                            <a:pt x="283" y="1010"/>
                          </a:lnTo>
                          <a:lnTo>
                            <a:pt x="280" y="988"/>
                          </a:lnTo>
                          <a:lnTo>
                            <a:pt x="287" y="982"/>
                          </a:lnTo>
                          <a:lnTo>
                            <a:pt x="304" y="990"/>
                          </a:lnTo>
                          <a:lnTo>
                            <a:pt x="321" y="987"/>
                          </a:lnTo>
                          <a:lnTo>
                            <a:pt x="332" y="979"/>
                          </a:lnTo>
                          <a:lnTo>
                            <a:pt x="329" y="967"/>
                          </a:lnTo>
                          <a:lnTo>
                            <a:pt x="332" y="951"/>
                          </a:lnTo>
                          <a:lnTo>
                            <a:pt x="329" y="938"/>
                          </a:lnTo>
                          <a:lnTo>
                            <a:pt x="347" y="939"/>
                          </a:lnTo>
                          <a:lnTo>
                            <a:pt x="381" y="935"/>
                          </a:lnTo>
                          <a:lnTo>
                            <a:pt x="407" y="924"/>
                          </a:lnTo>
                          <a:lnTo>
                            <a:pt x="424" y="896"/>
                          </a:lnTo>
                          <a:lnTo>
                            <a:pt x="424" y="885"/>
                          </a:lnTo>
                          <a:lnTo>
                            <a:pt x="413" y="876"/>
                          </a:lnTo>
                          <a:lnTo>
                            <a:pt x="416" y="861"/>
                          </a:lnTo>
                          <a:lnTo>
                            <a:pt x="395" y="844"/>
                          </a:lnTo>
                          <a:lnTo>
                            <a:pt x="395" y="833"/>
                          </a:lnTo>
                          <a:lnTo>
                            <a:pt x="405" y="844"/>
                          </a:lnTo>
                          <a:lnTo>
                            <a:pt x="418" y="844"/>
                          </a:lnTo>
                          <a:lnTo>
                            <a:pt x="433" y="853"/>
                          </a:lnTo>
                          <a:lnTo>
                            <a:pt x="442" y="850"/>
                          </a:lnTo>
                          <a:lnTo>
                            <a:pt x="456" y="855"/>
                          </a:lnTo>
                          <a:lnTo>
                            <a:pt x="474" y="842"/>
                          </a:lnTo>
                          <a:lnTo>
                            <a:pt x="482" y="830"/>
                          </a:lnTo>
                          <a:lnTo>
                            <a:pt x="494" y="818"/>
                          </a:lnTo>
                          <a:lnTo>
                            <a:pt x="502" y="799"/>
                          </a:lnTo>
                          <a:lnTo>
                            <a:pt x="513" y="789"/>
                          </a:lnTo>
                          <a:lnTo>
                            <a:pt x="528" y="773"/>
                          </a:lnTo>
                          <a:lnTo>
                            <a:pt x="548" y="738"/>
                          </a:lnTo>
                          <a:lnTo>
                            <a:pt x="559" y="727"/>
                          </a:lnTo>
                          <a:lnTo>
                            <a:pt x="563" y="718"/>
                          </a:lnTo>
                          <a:lnTo>
                            <a:pt x="566" y="698"/>
                          </a:lnTo>
                          <a:lnTo>
                            <a:pt x="563" y="689"/>
                          </a:lnTo>
                          <a:lnTo>
                            <a:pt x="566" y="673"/>
                          </a:lnTo>
                          <a:lnTo>
                            <a:pt x="580" y="655"/>
                          </a:lnTo>
                          <a:lnTo>
                            <a:pt x="602" y="639"/>
                          </a:lnTo>
                          <a:lnTo>
                            <a:pt x="620" y="635"/>
                          </a:lnTo>
                          <a:lnTo>
                            <a:pt x="632" y="626"/>
                          </a:lnTo>
                          <a:lnTo>
                            <a:pt x="660" y="619"/>
                          </a:lnTo>
                          <a:lnTo>
                            <a:pt x="678" y="619"/>
                          </a:lnTo>
                          <a:lnTo>
                            <a:pt x="681" y="607"/>
                          </a:lnTo>
                          <a:lnTo>
                            <a:pt x="697" y="599"/>
                          </a:lnTo>
                          <a:lnTo>
                            <a:pt x="698" y="581"/>
                          </a:lnTo>
                          <a:lnTo>
                            <a:pt x="717" y="556"/>
                          </a:lnTo>
                          <a:lnTo>
                            <a:pt x="720" y="533"/>
                          </a:lnTo>
                          <a:lnTo>
                            <a:pt x="724" y="526"/>
                          </a:lnTo>
                          <a:lnTo>
                            <a:pt x="727" y="513"/>
                          </a:lnTo>
                          <a:lnTo>
                            <a:pt x="732" y="486"/>
                          </a:lnTo>
                          <a:lnTo>
                            <a:pt x="731" y="453"/>
                          </a:lnTo>
                          <a:lnTo>
                            <a:pt x="735" y="440"/>
                          </a:lnTo>
                          <a:lnTo>
                            <a:pt x="740" y="440"/>
                          </a:lnTo>
                          <a:lnTo>
                            <a:pt x="752" y="424"/>
                          </a:lnTo>
                          <a:lnTo>
                            <a:pt x="763" y="404"/>
                          </a:lnTo>
                          <a:lnTo>
                            <a:pt x="787" y="380"/>
                          </a:lnTo>
                          <a:lnTo>
                            <a:pt x="796" y="369"/>
                          </a:lnTo>
                          <a:lnTo>
                            <a:pt x="803" y="341"/>
                          </a:lnTo>
                          <a:lnTo>
                            <a:pt x="801" y="330"/>
                          </a:lnTo>
                          <a:close/>
                          <a:moveTo>
                            <a:pt x="235" y="1316"/>
                          </a:moveTo>
                          <a:lnTo>
                            <a:pt x="227" y="1293"/>
                          </a:lnTo>
                          <a:lnTo>
                            <a:pt x="220" y="1280"/>
                          </a:lnTo>
                          <a:lnTo>
                            <a:pt x="208" y="1277"/>
                          </a:lnTo>
                          <a:lnTo>
                            <a:pt x="192" y="1288"/>
                          </a:lnTo>
                          <a:lnTo>
                            <a:pt x="186" y="1308"/>
                          </a:lnTo>
                          <a:lnTo>
                            <a:pt x="177" y="1322"/>
                          </a:lnTo>
                          <a:lnTo>
                            <a:pt x="155" y="1311"/>
                          </a:lnTo>
                          <a:lnTo>
                            <a:pt x="131" y="1293"/>
                          </a:lnTo>
                          <a:lnTo>
                            <a:pt x="117" y="1287"/>
                          </a:lnTo>
                          <a:lnTo>
                            <a:pt x="140" y="1319"/>
                          </a:lnTo>
                          <a:lnTo>
                            <a:pt x="157" y="1334"/>
                          </a:lnTo>
                          <a:lnTo>
                            <a:pt x="180" y="1351"/>
                          </a:lnTo>
                          <a:lnTo>
                            <a:pt x="197" y="1356"/>
                          </a:lnTo>
                          <a:lnTo>
                            <a:pt x="211" y="1365"/>
                          </a:lnTo>
                          <a:lnTo>
                            <a:pt x="220" y="1367"/>
                          </a:lnTo>
                          <a:lnTo>
                            <a:pt x="229" y="1368"/>
                          </a:lnTo>
                          <a:lnTo>
                            <a:pt x="243" y="1359"/>
                          </a:lnTo>
                          <a:lnTo>
                            <a:pt x="249" y="1347"/>
                          </a:lnTo>
                          <a:lnTo>
                            <a:pt x="258" y="1357"/>
                          </a:lnTo>
                          <a:lnTo>
                            <a:pt x="273" y="1356"/>
                          </a:lnTo>
                          <a:lnTo>
                            <a:pt x="281" y="1340"/>
                          </a:lnTo>
                          <a:lnTo>
                            <a:pt x="258" y="1333"/>
                          </a:lnTo>
                          <a:lnTo>
                            <a:pt x="235" y="1316"/>
                          </a:lnTo>
                          <a:close/>
                        </a:path>
                      </a:pathLst>
                    </a:custGeom>
                    <a:solidFill>
                      <a:srgbClr val="D9D9D9"/>
                    </a:solidFill>
                    <a:ln w="4763" cap="flat">
                      <a:solidFill>
                        <a:srgbClr val="FFFFFF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endParaRPr lang="en-US" sz="1000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1" name="North America" descr="{&quot;Key&quot;:&quot;north america&quot;,&quot;Name&quot;:&quot;North America&quot;,&quot;Value&quot;:1.0,&quot;Formula&quot;:&quot;&quot;,&quot;Text&quot;:&quot;&quot;,&quot;OfficeApplication&quot;:1,&quot;HasValue&quot;:true}">
                      <a:extLst>
                        <a:ext uri="{FF2B5EF4-FFF2-40B4-BE49-F238E27FC236}">
                          <a16:creationId xmlns:a16="http://schemas.microsoft.com/office/drawing/2014/main" id="{970964BC-963D-4FEA-AA28-97C81AE64D56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691" y="0"/>
                      <a:ext cx="2706" cy="2726"/>
                    </a:xfrm>
                    <a:custGeom>
                      <a:avLst/>
                      <a:gdLst>
                        <a:gd name="T0" fmla="*/ 1683 w 2706"/>
                        <a:gd name="T1" fmla="*/ 2540 h 2726"/>
                        <a:gd name="T2" fmla="*/ 1581 w 2706"/>
                        <a:gd name="T3" fmla="*/ 2420 h 2726"/>
                        <a:gd name="T4" fmla="*/ 1515 w 2706"/>
                        <a:gd name="T5" fmla="*/ 2443 h 2726"/>
                        <a:gd name="T6" fmla="*/ 1578 w 2706"/>
                        <a:gd name="T7" fmla="*/ 2503 h 2726"/>
                        <a:gd name="T8" fmla="*/ 198 w 2706"/>
                        <a:gd name="T9" fmla="*/ 2469 h 2726"/>
                        <a:gd name="T10" fmla="*/ 221 w 2706"/>
                        <a:gd name="T11" fmla="*/ 2484 h 2726"/>
                        <a:gd name="T12" fmla="*/ 867 w 2706"/>
                        <a:gd name="T13" fmla="*/ 670 h 2726"/>
                        <a:gd name="T14" fmla="*/ 931 w 2706"/>
                        <a:gd name="T15" fmla="*/ 749 h 2726"/>
                        <a:gd name="T16" fmla="*/ 1971 w 2706"/>
                        <a:gd name="T17" fmla="*/ 1874 h 2726"/>
                        <a:gd name="T18" fmla="*/ 1996 w 2706"/>
                        <a:gd name="T19" fmla="*/ 1943 h 2726"/>
                        <a:gd name="T20" fmla="*/ 238 w 2706"/>
                        <a:gd name="T21" fmla="*/ 2520 h 2726"/>
                        <a:gd name="T22" fmla="*/ 2367 w 2706"/>
                        <a:gd name="T23" fmla="*/ 203 h 2726"/>
                        <a:gd name="T24" fmla="*/ 1792 w 2706"/>
                        <a:gd name="T25" fmla="*/ 474 h 2726"/>
                        <a:gd name="T26" fmla="*/ 2032 w 2706"/>
                        <a:gd name="T27" fmla="*/ 1111 h 2726"/>
                        <a:gd name="T28" fmla="*/ 2178 w 2706"/>
                        <a:gd name="T29" fmla="*/ 1516 h 2726"/>
                        <a:gd name="T30" fmla="*/ 2535 w 2706"/>
                        <a:gd name="T31" fmla="*/ 1064 h 2726"/>
                        <a:gd name="T32" fmla="*/ 2635 w 2706"/>
                        <a:gd name="T33" fmla="*/ 391 h 2726"/>
                        <a:gd name="T34" fmla="*/ 635 w 2706"/>
                        <a:gd name="T35" fmla="*/ 1771 h 2726"/>
                        <a:gd name="T36" fmla="*/ 1865 w 2706"/>
                        <a:gd name="T37" fmla="*/ 1977 h 2726"/>
                        <a:gd name="T38" fmla="*/ 1672 w 2706"/>
                        <a:gd name="T39" fmla="*/ 2071 h 2726"/>
                        <a:gd name="T40" fmla="*/ 1598 w 2706"/>
                        <a:gd name="T41" fmla="*/ 2129 h 2726"/>
                        <a:gd name="T42" fmla="*/ 1537 w 2706"/>
                        <a:gd name="T43" fmla="*/ 2392 h 2726"/>
                        <a:gd name="T44" fmla="*/ 1377 w 2706"/>
                        <a:gd name="T45" fmla="*/ 2327 h 2726"/>
                        <a:gd name="T46" fmla="*/ 1235 w 2706"/>
                        <a:gd name="T47" fmla="*/ 2464 h 2726"/>
                        <a:gd name="T48" fmla="*/ 1411 w 2706"/>
                        <a:gd name="T49" fmla="*/ 2509 h 2726"/>
                        <a:gd name="T50" fmla="*/ 1420 w 2706"/>
                        <a:gd name="T51" fmla="*/ 2576 h 2726"/>
                        <a:gd name="T52" fmla="*/ 1477 w 2706"/>
                        <a:gd name="T53" fmla="*/ 2649 h 2726"/>
                        <a:gd name="T54" fmla="*/ 1584 w 2706"/>
                        <a:gd name="T55" fmla="*/ 2718 h 2726"/>
                        <a:gd name="T56" fmla="*/ 1491 w 2706"/>
                        <a:gd name="T57" fmla="*/ 2707 h 2726"/>
                        <a:gd name="T58" fmla="*/ 1416 w 2706"/>
                        <a:gd name="T59" fmla="*/ 2635 h 2726"/>
                        <a:gd name="T60" fmla="*/ 1230 w 2706"/>
                        <a:gd name="T61" fmla="*/ 2570 h 2726"/>
                        <a:gd name="T62" fmla="*/ 1035 w 2706"/>
                        <a:gd name="T63" fmla="*/ 2380 h 2726"/>
                        <a:gd name="T64" fmla="*/ 982 w 2706"/>
                        <a:gd name="T65" fmla="*/ 2358 h 2726"/>
                        <a:gd name="T66" fmla="*/ 937 w 2706"/>
                        <a:gd name="T67" fmla="*/ 2355 h 2726"/>
                        <a:gd name="T68" fmla="*/ 801 w 2706"/>
                        <a:gd name="T69" fmla="*/ 2141 h 2726"/>
                        <a:gd name="T70" fmla="*/ 716 w 2706"/>
                        <a:gd name="T71" fmla="*/ 1792 h 2726"/>
                        <a:gd name="T72" fmla="*/ 305 w 2706"/>
                        <a:gd name="T73" fmla="*/ 1583 h 2726"/>
                        <a:gd name="T74" fmla="*/ 132 w 2706"/>
                        <a:gd name="T75" fmla="*/ 1688 h 2726"/>
                        <a:gd name="T76" fmla="*/ 64 w 2706"/>
                        <a:gd name="T77" fmla="*/ 1480 h 2726"/>
                        <a:gd name="T78" fmla="*/ 121 w 2706"/>
                        <a:gd name="T79" fmla="*/ 1294 h 2726"/>
                        <a:gd name="T80" fmla="*/ 446 w 2706"/>
                        <a:gd name="T81" fmla="*/ 1135 h 2726"/>
                        <a:gd name="T82" fmla="*/ 933 w 2706"/>
                        <a:gd name="T83" fmla="*/ 1196 h 2726"/>
                        <a:gd name="T84" fmla="*/ 1295 w 2706"/>
                        <a:gd name="T85" fmla="*/ 1187 h 2726"/>
                        <a:gd name="T86" fmla="*/ 1515 w 2706"/>
                        <a:gd name="T87" fmla="*/ 1278 h 2726"/>
                        <a:gd name="T88" fmla="*/ 1453 w 2706"/>
                        <a:gd name="T89" fmla="*/ 1706 h 2726"/>
                        <a:gd name="T90" fmla="*/ 1661 w 2706"/>
                        <a:gd name="T91" fmla="*/ 1480 h 2726"/>
                        <a:gd name="T92" fmla="*/ 1933 w 2706"/>
                        <a:gd name="T93" fmla="*/ 1819 h 2726"/>
                        <a:gd name="T94" fmla="*/ 1215 w 2706"/>
                        <a:gd name="T95" fmla="*/ 1156 h 2726"/>
                        <a:gd name="T96" fmla="*/ 1546 w 2706"/>
                        <a:gd name="T97" fmla="*/ 1496 h 2726"/>
                        <a:gd name="T98" fmla="*/ 1063 w 2706"/>
                        <a:gd name="T99" fmla="*/ 1032 h 2726"/>
                        <a:gd name="T100" fmla="*/ 934 w 2706"/>
                        <a:gd name="T101" fmla="*/ 1178 h 2726"/>
                        <a:gd name="T102" fmla="*/ 1431 w 2706"/>
                        <a:gd name="T103" fmla="*/ 1407 h 2726"/>
                        <a:gd name="T104" fmla="*/ 1408 w 2706"/>
                        <a:gd name="T105" fmla="*/ 633 h 2726"/>
                        <a:gd name="T106" fmla="*/ 1749 w 2706"/>
                        <a:gd name="T107" fmla="*/ 355 h 2726"/>
                        <a:gd name="T108" fmla="*/ 1344 w 2706"/>
                        <a:gd name="T109" fmla="*/ 281 h 2726"/>
                        <a:gd name="T110" fmla="*/ 1439 w 2706"/>
                        <a:gd name="T111" fmla="*/ 930 h 2726"/>
                        <a:gd name="T112" fmla="*/ 1607 w 2706"/>
                        <a:gd name="T113" fmla="*/ 1354 h 2726"/>
                        <a:gd name="T114" fmla="*/ 1795 w 2706"/>
                        <a:gd name="T115" fmla="*/ 1350 h 2726"/>
                        <a:gd name="T116" fmla="*/ 1118 w 2706"/>
                        <a:gd name="T117" fmla="*/ 953 h 2726"/>
                        <a:gd name="T118" fmla="*/ 1525 w 2706"/>
                        <a:gd name="T119" fmla="*/ 958 h 2726"/>
                        <a:gd name="T120" fmla="*/ 1299 w 2706"/>
                        <a:gd name="T121" fmla="*/ 566 h 2726"/>
                        <a:gd name="T122" fmla="*/ 1273 w 2706"/>
                        <a:gd name="T123" fmla="*/ 925 h 2726"/>
                        <a:gd name="T124" fmla="*/ 1532 w 2706"/>
                        <a:gd name="T125" fmla="*/ 876 h 27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2706" h="2726">
                          <a:moveTo>
                            <a:pt x="1724" y="2518"/>
                          </a:moveTo>
                          <a:lnTo>
                            <a:pt x="1726" y="2512"/>
                          </a:lnTo>
                          <a:lnTo>
                            <a:pt x="1716" y="2512"/>
                          </a:lnTo>
                          <a:lnTo>
                            <a:pt x="1712" y="2506"/>
                          </a:lnTo>
                          <a:lnTo>
                            <a:pt x="1709" y="2506"/>
                          </a:lnTo>
                          <a:lnTo>
                            <a:pt x="1698" y="2501"/>
                          </a:lnTo>
                          <a:lnTo>
                            <a:pt x="1684" y="2501"/>
                          </a:lnTo>
                          <a:lnTo>
                            <a:pt x="1683" y="2504"/>
                          </a:lnTo>
                          <a:lnTo>
                            <a:pt x="1667" y="2501"/>
                          </a:lnTo>
                          <a:lnTo>
                            <a:pt x="1657" y="2501"/>
                          </a:lnTo>
                          <a:lnTo>
                            <a:pt x="1653" y="2506"/>
                          </a:lnTo>
                          <a:lnTo>
                            <a:pt x="1664" y="2509"/>
                          </a:lnTo>
                          <a:lnTo>
                            <a:pt x="1664" y="2517"/>
                          </a:lnTo>
                          <a:lnTo>
                            <a:pt x="1672" y="2524"/>
                          </a:lnTo>
                          <a:lnTo>
                            <a:pt x="1666" y="2527"/>
                          </a:lnTo>
                          <a:lnTo>
                            <a:pt x="1652" y="2526"/>
                          </a:lnTo>
                          <a:lnTo>
                            <a:pt x="1637" y="2524"/>
                          </a:lnTo>
                          <a:lnTo>
                            <a:pt x="1635" y="2530"/>
                          </a:lnTo>
                          <a:lnTo>
                            <a:pt x="1644" y="2535"/>
                          </a:lnTo>
                          <a:lnTo>
                            <a:pt x="1652" y="2532"/>
                          </a:lnTo>
                          <a:lnTo>
                            <a:pt x="1663" y="2533"/>
                          </a:lnTo>
                          <a:lnTo>
                            <a:pt x="1670" y="2532"/>
                          </a:lnTo>
                          <a:lnTo>
                            <a:pt x="1683" y="2535"/>
                          </a:lnTo>
                          <a:lnTo>
                            <a:pt x="1683" y="2540"/>
                          </a:lnTo>
                          <a:lnTo>
                            <a:pt x="1687" y="2543"/>
                          </a:lnTo>
                          <a:lnTo>
                            <a:pt x="1695" y="2530"/>
                          </a:lnTo>
                          <a:lnTo>
                            <a:pt x="1699" y="2527"/>
                          </a:lnTo>
                          <a:lnTo>
                            <a:pt x="1703" y="2532"/>
                          </a:lnTo>
                          <a:lnTo>
                            <a:pt x="1709" y="2532"/>
                          </a:lnTo>
                          <a:lnTo>
                            <a:pt x="1712" y="2527"/>
                          </a:lnTo>
                          <a:lnTo>
                            <a:pt x="1718" y="2529"/>
                          </a:lnTo>
                          <a:lnTo>
                            <a:pt x="1726" y="2529"/>
                          </a:lnTo>
                          <a:lnTo>
                            <a:pt x="1735" y="2532"/>
                          </a:lnTo>
                          <a:lnTo>
                            <a:pt x="1741" y="2524"/>
                          </a:lnTo>
                          <a:lnTo>
                            <a:pt x="1732" y="2518"/>
                          </a:lnTo>
                          <a:lnTo>
                            <a:pt x="1724" y="2518"/>
                          </a:lnTo>
                          <a:close/>
                          <a:moveTo>
                            <a:pt x="1566" y="2370"/>
                          </a:moveTo>
                          <a:lnTo>
                            <a:pt x="1557" y="2372"/>
                          </a:lnTo>
                          <a:lnTo>
                            <a:pt x="1558" y="2380"/>
                          </a:lnTo>
                          <a:lnTo>
                            <a:pt x="1577" y="2377"/>
                          </a:lnTo>
                          <a:lnTo>
                            <a:pt x="1577" y="2372"/>
                          </a:lnTo>
                          <a:lnTo>
                            <a:pt x="1566" y="2370"/>
                          </a:lnTo>
                          <a:close/>
                          <a:moveTo>
                            <a:pt x="1571" y="2403"/>
                          </a:moveTo>
                          <a:lnTo>
                            <a:pt x="1568" y="2415"/>
                          </a:lnTo>
                          <a:lnTo>
                            <a:pt x="1574" y="2420"/>
                          </a:lnTo>
                          <a:lnTo>
                            <a:pt x="1578" y="2430"/>
                          </a:lnTo>
                          <a:lnTo>
                            <a:pt x="1581" y="2430"/>
                          </a:lnTo>
                          <a:lnTo>
                            <a:pt x="1581" y="2420"/>
                          </a:lnTo>
                          <a:lnTo>
                            <a:pt x="1575" y="2404"/>
                          </a:lnTo>
                          <a:lnTo>
                            <a:pt x="1571" y="2403"/>
                          </a:lnTo>
                          <a:close/>
                          <a:moveTo>
                            <a:pt x="1776" y="2527"/>
                          </a:moveTo>
                          <a:lnTo>
                            <a:pt x="1761" y="2526"/>
                          </a:lnTo>
                          <a:lnTo>
                            <a:pt x="1759" y="2529"/>
                          </a:lnTo>
                          <a:lnTo>
                            <a:pt x="1761" y="2537"/>
                          </a:lnTo>
                          <a:lnTo>
                            <a:pt x="1770" y="2537"/>
                          </a:lnTo>
                          <a:lnTo>
                            <a:pt x="1784" y="2537"/>
                          </a:lnTo>
                          <a:lnTo>
                            <a:pt x="1787" y="2532"/>
                          </a:lnTo>
                          <a:lnTo>
                            <a:pt x="1784" y="2529"/>
                          </a:lnTo>
                          <a:lnTo>
                            <a:pt x="1776" y="2527"/>
                          </a:lnTo>
                          <a:close/>
                          <a:moveTo>
                            <a:pt x="1640" y="2495"/>
                          </a:moveTo>
                          <a:lnTo>
                            <a:pt x="1627" y="2487"/>
                          </a:lnTo>
                          <a:lnTo>
                            <a:pt x="1614" y="2486"/>
                          </a:lnTo>
                          <a:lnTo>
                            <a:pt x="1615" y="2481"/>
                          </a:lnTo>
                          <a:lnTo>
                            <a:pt x="1604" y="2477"/>
                          </a:lnTo>
                          <a:lnTo>
                            <a:pt x="1600" y="2478"/>
                          </a:lnTo>
                          <a:lnTo>
                            <a:pt x="1589" y="2469"/>
                          </a:lnTo>
                          <a:lnTo>
                            <a:pt x="1574" y="2458"/>
                          </a:lnTo>
                          <a:lnTo>
                            <a:pt x="1568" y="2454"/>
                          </a:lnTo>
                          <a:lnTo>
                            <a:pt x="1552" y="2455"/>
                          </a:lnTo>
                          <a:lnTo>
                            <a:pt x="1545" y="2449"/>
                          </a:lnTo>
                          <a:lnTo>
                            <a:pt x="1529" y="2443"/>
                          </a:lnTo>
                          <a:lnTo>
                            <a:pt x="1515" y="2443"/>
                          </a:lnTo>
                          <a:lnTo>
                            <a:pt x="1500" y="2441"/>
                          </a:lnTo>
                          <a:lnTo>
                            <a:pt x="1497" y="2443"/>
                          </a:lnTo>
                          <a:lnTo>
                            <a:pt x="1483" y="2444"/>
                          </a:lnTo>
                          <a:lnTo>
                            <a:pt x="1474" y="2449"/>
                          </a:lnTo>
                          <a:lnTo>
                            <a:pt x="1466" y="2452"/>
                          </a:lnTo>
                          <a:lnTo>
                            <a:pt x="1463" y="2460"/>
                          </a:lnTo>
                          <a:lnTo>
                            <a:pt x="1454" y="2464"/>
                          </a:lnTo>
                          <a:lnTo>
                            <a:pt x="1462" y="2466"/>
                          </a:lnTo>
                          <a:lnTo>
                            <a:pt x="1469" y="2464"/>
                          </a:lnTo>
                          <a:lnTo>
                            <a:pt x="1472" y="2460"/>
                          </a:lnTo>
                          <a:lnTo>
                            <a:pt x="1480" y="2460"/>
                          </a:lnTo>
                          <a:lnTo>
                            <a:pt x="1492" y="2450"/>
                          </a:lnTo>
                          <a:lnTo>
                            <a:pt x="1509" y="2450"/>
                          </a:lnTo>
                          <a:lnTo>
                            <a:pt x="1502" y="2455"/>
                          </a:lnTo>
                          <a:lnTo>
                            <a:pt x="1508" y="2460"/>
                          </a:lnTo>
                          <a:lnTo>
                            <a:pt x="1531" y="2463"/>
                          </a:lnTo>
                          <a:lnTo>
                            <a:pt x="1535" y="2466"/>
                          </a:lnTo>
                          <a:lnTo>
                            <a:pt x="1552" y="2470"/>
                          </a:lnTo>
                          <a:lnTo>
                            <a:pt x="1561" y="2470"/>
                          </a:lnTo>
                          <a:lnTo>
                            <a:pt x="1566" y="2481"/>
                          </a:lnTo>
                          <a:lnTo>
                            <a:pt x="1572" y="2486"/>
                          </a:lnTo>
                          <a:lnTo>
                            <a:pt x="1583" y="2487"/>
                          </a:lnTo>
                          <a:lnTo>
                            <a:pt x="1589" y="2492"/>
                          </a:lnTo>
                          <a:lnTo>
                            <a:pt x="1578" y="2503"/>
                          </a:lnTo>
                          <a:lnTo>
                            <a:pt x="1603" y="2500"/>
                          </a:lnTo>
                          <a:lnTo>
                            <a:pt x="1615" y="2501"/>
                          </a:lnTo>
                          <a:lnTo>
                            <a:pt x="1626" y="2501"/>
                          </a:lnTo>
                          <a:lnTo>
                            <a:pt x="1638" y="2498"/>
                          </a:lnTo>
                          <a:lnTo>
                            <a:pt x="1640" y="2495"/>
                          </a:lnTo>
                          <a:close/>
                          <a:moveTo>
                            <a:pt x="1594" y="2529"/>
                          </a:moveTo>
                          <a:lnTo>
                            <a:pt x="1581" y="2527"/>
                          </a:lnTo>
                          <a:lnTo>
                            <a:pt x="1577" y="2526"/>
                          </a:lnTo>
                          <a:lnTo>
                            <a:pt x="1571" y="2527"/>
                          </a:lnTo>
                          <a:lnTo>
                            <a:pt x="1568" y="2532"/>
                          </a:lnTo>
                          <a:lnTo>
                            <a:pt x="1578" y="2538"/>
                          </a:lnTo>
                          <a:lnTo>
                            <a:pt x="1588" y="2541"/>
                          </a:lnTo>
                          <a:lnTo>
                            <a:pt x="1592" y="2538"/>
                          </a:lnTo>
                          <a:lnTo>
                            <a:pt x="1604" y="2538"/>
                          </a:lnTo>
                          <a:lnTo>
                            <a:pt x="1603" y="2533"/>
                          </a:lnTo>
                          <a:lnTo>
                            <a:pt x="1594" y="2529"/>
                          </a:lnTo>
                          <a:close/>
                          <a:moveTo>
                            <a:pt x="1588" y="2390"/>
                          </a:moveTo>
                          <a:lnTo>
                            <a:pt x="1591" y="2377"/>
                          </a:lnTo>
                          <a:lnTo>
                            <a:pt x="1578" y="2367"/>
                          </a:lnTo>
                          <a:lnTo>
                            <a:pt x="1578" y="2370"/>
                          </a:lnTo>
                          <a:lnTo>
                            <a:pt x="1586" y="2378"/>
                          </a:lnTo>
                          <a:lnTo>
                            <a:pt x="1584" y="2387"/>
                          </a:lnTo>
                          <a:lnTo>
                            <a:pt x="1588" y="2390"/>
                          </a:lnTo>
                          <a:close/>
                          <a:moveTo>
                            <a:pt x="198" y="2469"/>
                          </a:moveTo>
                          <a:lnTo>
                            <a:pt x="193" y="2470"/>
                          </a:lnTo>
                          <a:lnTo>
                            <a:pt x="193" y="2472"/>
                          </a:lnTo>
                          <a:lnTo>
                            <a:pt x="196" y="2475"/>
                          </a:lnTo>
                          <a:lnTo>
                            <a:pt x="201" y="2477"/>
                          </a:lnTo>
                          <a:lnTo>
                            <a:pt x="202" y="2477"/>
                          </a:lnTo>
                          <a:lnTo>
                            <a:pt x="204" y="2475"/>
                          </a:lnTo>
                          <a:lnTo>
                            <a:pt x="199" y="2469"/>
                          </a:lnTo>
                          <a:lnTo>
                            <a:pt x="198" y="2469"/>
                          </a:lnTo>
                          <a:close/>
                          <a:moveTo>
                            <a:pt x="170" y="2458"/>
                          </a:moveTo>
                          <a:lnTo>
                            <a:pt x="167" y="2460"/>
                          </a:lnTo>
                          <a:lnTo>
                            <a:pt x="167" y="2461"/>
                          </a:lnTo>
                          <a:lnTo>
                            <a:pt x="173" y="2466"/>
                          </a:lnTo>
                          <a:lnTo>
                            <a:pt x="175" y="2463"/>
                          </a:lnTo>
                          <a:lnTo>
                            <a:pt x="175" y="2460"/>
                          </a:lnTo>
                          <a:lnTo>
                            <a:pt x="170" y="2458"/>
                          </a:lnTo>
                          <a:close/>
                          <a:moveTo>
                            <a:pt x="210" y="2480"/>
                          </a:moveTo>
                          <a:lnTo>
                            <a:pt x="219" y="2480"/>
                          </a:lnTo>
                          <a:lnTo>
                            <a:pt x="219" y="2478"/>
                          </a:lnTo>
                          <a:lnTo>
                            <a:pt x="210" y="2477"/>
                          </a:lnTo>
                          <a:lnTo>
                            <a:pt x="210" y="2480"/>
                          </a:lnTo>
                          <a:close/>
                          <a:moveTo>
                            <a:pt x="229" y="2483"/>
                          </a:moveTo>
                          <a:lnTo>
                            <a:pt x="222" y="2481"/>
                          </a:lnTo>
                          <a:lnTo>
                            <a:pt x="219" y="2483"/>
                          </a:lnTo>
                          <a:lnTo>
                            <a:pt x="221" y="2484"/>
                          </a:lnTo>
                          <a:lnTo>
                            <a:pt x="222" y="2486"/>
                          </a:lnTo>
                          <a:lnTo>
                            <a:pt x="225" y="2489"/>
                          </a:lnTo>
                          <a:lnTo>
                            <a:pt x="232" y="2487"/>
                          </a:lnTo>
                          <a:lnTo>
                            <a:pt x="232" y="2486"/>
                          </a:lnTo>
                          <a:lnTo>
                            <a:pt x="229" y="2483"/>
                          </a:lnTo>
                          <a:close/>
                          <a:moveTo>
                            <a:pt x="52" y="1540"/>
                          </a:moveTo>
                          <a:lnTo>
                            <a:pt x="35" y="1547"/>
                          </a:lnTo>
                          <a:lnTo>
                            <a:pt x="46" y="1556"/>
                          </a:lnTo>
                          <a:lnTo>
                            <a:pt x="57" y="1562"/>
                          </a:lnTo>
                          <a:lnTo>
                            <a:pt x="67" y="1557"/>
                          </a:lnTo>
                          <a:lnTo>
                            <a:pt x="66" y="1543"/>
                          </a:lnTo>
                          <a:lnTo>
                            <a:pt x="52" y="1540"/>
                          </a:lnTo>
                          <a:close/>
                          <a:moveTo>
                            <a:pt x="0" y="1447"/>
                          </a:moveTo>
                          <a:lnTo>
                            <a:pt x="12" y="1439"/>
                          </a:lnTo>
                          <a:lnTo>
                            <a:pt x="14" y="1434"/>
                          </a:lnTo>
                          <a:lnTo>
                            <a:pt x="0" y="1430"/>
                          </a:lnTo>
                          <a:lnTo>
                            <a:pt x="0" y="1447"/>
                          </a:lnTo>
                          <a:close/>
                          <a:moveTo>
                            <a:pt x="853" y="781"/>
                          </a:moveTo>
                          <a:lnTo>
                            <a:pt x="885" y="749"/>
                          </a:lnTo>
                          <a:lnTo>
                            <a:pt x="902" y="746"/>
                          </a:lnTo>
                          <a:lnTo>
                            <a:pt x="914" y="719"/>
                          </a:lnTo>
                          <a:lnTo>
                            <a:pt x="917" y="660"/>
                          </a:lnTo>
                          <a:lnTo>
                            <a:pt x="893" y="672"/>
                          </a:lnTo>
                          <a:lnTo>
                            <a:pt x="867" y="670"/>
                          </a:lnTo>
                          <a:lnTo>
                            <a:pt x="831" y="721"/>
                          </a:lnTo>
                          <a:lnTo>
                            <a:pt x="802" y="776"/>
                          </a:lnTo>
                          <a:lnTo>
                            <a:pt x="825" y="792"/>
                          </a:lnTo>
                          <a:lnTo>
                            <a:pt x="853" y="781"/>
                          </a:lnTo>
                          <a:close/>
                          <a:moveTo>
                            <a:pt x="891" y="838"/>
                          </a:moveTo>
                          <a:lnTo>
                            <a:pt x="916" y="850"/>
                          </a:lnTo>
                          <a:lnTo>
                            <a:pt x="992" y="842"/>
                          </a:lnTo>
                          <a:lnTo>
                            <a:pt x="957" y="872"/>
                          </a:lnTo>
                          <a:lnTo>
                            <a:pt x="959" y="892"/>
                          </a:lnTo>
                          <a:lnTo>
                            <a:pt x="985" y="892"/>
                          </a:lnTo>
                          <a:lnTo>
                            <a:pt x="1029" y="862"/>
                          </a:lnTo>
                          <a:lnTo>
                            <a:pt x="1087" y="853"/>
                          </a:lnTo>
                          <a:lnTo>
                            <a:pt x="1098" y="821"/>
                          </a:lnTo>
                          <a:lnTo>
                            <a:pt x="1095" y="786"/>
                          </a:lnTo>
                          <a:lnTo>
                            <a:pt x="1077" y="783"/>
                          </a:lnTo>
                          <a:lnTo>
                            <a:pt x="1061" y="795"/>
                          </a:lnTo>
                          <a:lnTo>
                            <a:pt x="1054" y="770"/>
                          </a:lnTo>
                          <a:lnTo>
                            <a:pt x="1049" y="735"/>
                          </a:lnTo>
                          <a:lnTo>
                            <a:pt x="1031" y="726"/>
                          </a:lnTo>
                          <a:lnTo>
                            <a:pt x="1015" y="753"/>
                          </a:lnTo>
                          <a:lnTo>
                            <a:pt x="1040" y="821"/>
                          </a:lnTo>
                          <a:lnTo>
                            <a:pt x="1009" y="816"/>
                          </a:lnTo>
                          <a:lnTo>
                            <a:pt x="979" y="773"/>
                          </a:lnTo>
                          <a:lnTo>
                            <a:pt x="931" y="749"/>
                          </a:lnTo>
                          <a:lnTo>
                            <a:pt x="914" y="770"/>
                          </a:lnTo>
                          <a:lnTo>
                            <a:pt x="891" y="838"/>
                          </a:lnTo>
                          <a:close/>
                          <a:moveTo>
                            <a:pt x="798" y="1095"/>
                          </a:moveTo>
                          <a:lnTo>
                            <a:pt x="844" y="1068"/>
                          </a:lnTo>
                          <a:lnTo>
                            <a:pt x="844" y="1045"/>
                          </a:lnTo>
                          <a:lnTo>
                            <a:pt x="865" y="1005"/>
                          </a:lnTo>
                          <a:lnTo>
                            <a:pt x="906" y="965"/>
                          </a:lnTo>
                          <a:lnTo>
                            <a:pt x="930" y="950"/>
                          </a:lnTo>
                          <a:lnTo>
                            <a:pt x="910" y="924"/>
                          </a:lnTo>
                          <a:lnTo>
                            <a:pt x="894" y="905"/>
                          </a:lnTo>
                          <a:lnTo>
                            <a:pt x="850" y="902"/>
                          </a:lnTo>
                          <a:lnTo>
                            <a:pt x="825" y="889"/>
                          </a:lnTo>
                          <a:lnTo>
                            <a:pt x="767" y="899"/>
                          </a:lnTo>
                          <a:lnTo>
                            <a:pt x="784" y="938"/>
                          </a:lnTo>
                          <a:lnTo>
                            <a:pt x="768" y="976"/>
                          </a:lnTo>
                          <a:lnTo>
                            <a:pt x="758" y="1019"/>
                          </a:lnTo>
                          <a:lnTo>
                            <a:pt x="750" y="1042"/>
                          </a:lnTo>
                          <a:lnTo>
                            <a:pt x="790" y="1072"/>
                          </a:lnTo>
                          <a:lnTo>
                            <a:pt x="798" y="1095"/>
                          </a:lnTo>
                          <a:close/>
                          <a:moveTo>
                            <a:pt x="2003" y="1891"/>
                          </a:moveTo>
                          <a:lnTo>
                            <a:pt x="1991" y="1895"/>
                          </a:lnTo>
                          <a:lnTo>
                            <a:pt x="1996" y="1875"/>
                          </a:lnTo>
                          <a:lnTo>
                            <a:pt x="1979" y="1868"/>
                          </a:lnTo>
                          <a:lnTo>
                            <a:pt x="1971" y="1874"/>
                          </a:lnTo>
                          <a:lnTo>
                            <a:pt x="1956" y="1868"/>
                          </a:lnTo>
                          <a:lnTo>
                            <a:pt x="1962" y="1859"/>
                          </a:lnTo>
                          <a:lnTo>
                            <a:pt x="1950" y="1852"/>
                          </a:lnTo>
                          <a:lnTo>
                            <a:pt x="1939" y="1862"/>
                          </a:lnTo>
                          <a:lnTo>
                            <a:pt x="1950" y="1837"/>
                          </a:lnTo>
                          <a:lnTo>
                            <a:pt x="1959" y="1820"/>
                          </a:lnTo>
                          <a:lnTo>
                            <a:pt x="1963" y="1812"/>
                          </a:lnTo>
                          <a:lnTo>
                            <a:pt x="1954" y="1812"/>
                          </a:lnTo>
                          <a:lnTo>
                            <a:pt x="1940" y="1822"/>
                          </a:lnTo>
                          <a:lnTo>
                            <a:pt x="1930" y="1837"/>
                          </a:lnTo>
                          <a:lnTo>
                            <a:pt x="1911" y="1880"/>
                          </a:lnTo>
                          <a:lnTo>
                            <a:pt x="1897" y="1895"/>
                          </a:lnTo>
                          <a:lnTo>
                            <a:pt x="1905" y="1902"/>
                          </a:lnTo>
                          <a:lnTo>
                            <a:pt x="1894" y="1911"/>
                          </a:lnTo>
                          <a:lnTo>
                            <a:pt x="1896" y="1919"/>
                          </a:lnTo>
                          <a:lnTo>
                            <a:pt x="1930" y="1920"/>
                          </a:lnTo>
                          <a:lnTo>
                            <a:pt x="1948" y="1919"/>
                          </a:lnTo>
                          <a:lnTo>
                            <a:pt x="1965" y="1925"/>
                          </a:lnTo>
                          <a:lnTo>
                            <a:pt x="1953" y="1935"/>
                          </a:lnTo>
                          <a:lnTo>
                            <a:pt x="1963" y="1937"/>
                          </a:lnTo>
                          <a:lnTo>
                            <a:pt x="1983" y="1915"/>
                          </a:lnTo>
                          <a:lnTo>
                            <a:pt x="1988" y="1919"/>
                          </a:lnTo>
                          <a:lnTo>
                            <a:pt x="1983" y="1939"/>
                          </a:lnTo>
                          <a:lnTo>
                            <a:pt x="1996" y="1943"/>
                          </a:lnTo>
                          <a:lnTo>
                            <a:pt x="2003" y="1943"/>
                          </a:lnTo>
                          <a:lnTo>
                            <a:pt x="2011" y="1920"/>
                          </a:lnTo>
                          <a:lnTo>
                            <a:pt x="2005" y="1905"/>
                          </a:lnTo>
                          <a:lnTo>
                            <a:pt x="2003" y="1891"/>
                          </a:lnTo>
                          <a:close/>
                          <a:moveTo>
                            <a:pt x="1821" y="1945"/>
                          </a:moveTo>
                          <a:lnTo>
                            <a:pt x="1815" y="1932"/>
                          </a:lnTo>
                          <a:lnTo>
                            <a:pt x="1808" y="1940"/>
                          </a:lnTo>
                          <a:lnTo>
                            <a:pt x="1813" y="1949"/>
                          </a:lnTo>
                          <a:lnTo>
                            <a:pt x="1834" y="1960"/>
                          </a:lnTo>
                          <a:lnTo>
                            <a:pt x="1841" y="1959"/>
                          </a:lnTo>
                          <a:lnTo>
                            <a:pt x="1850" y="1948"/>
                          </a:lnTo>
                          <a:lnTo>
                            <a:pt x="1833" y="1949"/>
                          </a:lnTo>
                          <a:lnTo>
                            <a:pt x="1821" y="1945"/>
                          </a:lnTo>
                          <a:close/>
                          <a:moveTo>
                            <a:pt x="245" y="2500"/>
                          </a:moveTo>
                          <a:lnTo>
                            <a:pt x="242" y="2498"/>
                          </a:lnTo>
                          <a:lnTo>
                            <a:pt x="236" y="2495"/>
                          </a:lnTo>
                          <a:lnTo>
                            <a:pt x="235" y="2495"/>
                          </a:lnTo>
                          <a:lnTo>
                            <a:pt x="233" y="2497"/>
                          </a:lnTo>
                          <a:lnTo>
                            <a:pt x="235" y="2500"/>
                          </a:lnTo>
                          <a:lnTo>
                            <a:pt x="232" y="2503"/>
                          </a:lnTo>
                          <a:lnTo>
                            <a:pt x="232" y="2504"/>
                          </a:lnTo>
                          <a:lnTo>
                            <a:pt x="233" y="2512"/>
                          </a:lnTo>
                          <a:lnTo>
                            <a:pt x="233" y="2517"/>
                          </a:lnTo>
                          <a:lnTo>
                            <a:pt x="238" y="2520"/>
                          </a:lnTo>
                          <a:lnTo>
                            <a:pt x="241" y="2517"/>
                          </a:lnTo>
                          <a:lnTo>
                            <a:pt x="245" y="2513"/>
                          </a:lnTo>
                          <a:lnTo>
                            <a:pt x="253" y="2509"/>
                          </a:lnTo>
                          <a:lnTo>
                            <a:pt x="253" y="2509"/>
                          </a:lnTo>
                          <a:lnTo>
                            <a:pt x="248" y="2503"/>
                          </a:lnTo>
                          <a:lnTo>
                            <a:pt x="245" y="2500"/>
                          </a:lnTo>
                          <a:close/>
                          <a:moveTo>
                            <a:pt x="1853" y="1875"/>
                          </a:moveTo>
                          <a:lnTo>
                            <a:pt x="1834" y="1863"/>
                          </a:lnTo>
                          <a:lnTo>
                            <a:pt x="1811" y="1857"/>
                          </a:lnTo>
                          <a:lnTo>
                            <a:pt x="1805" y="1860"/>
                          </a:lnTo>
                          <a:lnTo>
                            <a:pt x="1822" y="1872"/>
                          </a:lnTo>
                          <a:lnTo>
                            <a:pt x="1844" y="1880"/>
                          </a:lnTo>
                          <a:lnTo>
                            <a:pt x="1853" y="1880"/>
                          </a:lnTo>
                          <a:lnTo>
                            <a:pt x="1853" y="1875"/>
                          </a:lnTo>
                          <a:close/>
                          <a:moveTo>
                            <a:pt x="2696" y="263"/>
                          </a:moveTo>
                          <a:lnTo>
                            <a:pt x="2644" y="238"/>
                          </a:lnTo>
                          <a:lnTo>
                            <a:pt x="2562" y="286"/>
                          </a:lnTo>
                          <a:lnTo>
                            <a:pt x="2517" y="327"/>
                          </a:lnTo>
                          <a:lnTo>
                            <a:pt x="2535" y="260"/>
                          </a:lnTo>
                          <a:lnTo>
                            <a:pt x="2522" y="217"/>
                          </a:lnTo>
                          <a:lnTo>
                            <a:pt x="2488" y="254"/>
                          </a:lnTo>
                          <a:lnTo>
                            <a:pt x="2437" y="212"/>
                          </a:lnTo>
                          <a:lnTo>
                            <a:pt x="2376" y="226"/>
                          </a:lnTo>
                          <a:lnTo>
                            <a:pt x="2367" y="203"/>
                          </a:lnTo>
                          <a:lnTo>
                            <a:pt x="2460" y="191"/>
                          </a:lnTo>
                          <a:lnTo>
                            <a:pt x="2526" y="185"/>
                          </a:lnTo>
                          <a:lnTo>
                            <a:pt x="2557" y="134"/>
                          </a:lnTo>
                          <a:lnTo>
                            <a:pt x="2450" y="20"/>
                          </a:lnTo>
                          <a:lnTo>
                            <a:pt x="2311" y="0"/>
                          </a:lnTo>
                          <a:lnTo>
                            <a:pt x="2252" y="15"/>
                          </a:lnTo>
                          <a:lnTo>
                            <a:pt x="2230" y="69"/>
                          </a:lnTo>
                          <a:lnTo>
                            <a:pt x="2169" y="63"/>
                          </a:lnTo>
                          <a:lnTo>
                            <a:pt x="2112" y="148"/>
                          </a:lnTo>
                          <a:lnTo>
                            <a:pt x="2109" y="203"/>
                          </a:lnTo>
                          <a:lnTo>
                            <a:pt x="2150" y="269"/>
                          </a:lnTo>
                          <a:lnTo>
                            <a:pt x="2114" y="229"/>
                          </a:lnTo>
                          <a:lnTo>
                            <a:pt x="2091" y="220"/>
                          </a:lnTo>
                          <a:lnTo>
                            <a:pt x="2049" y="172"/>
                          </a:lnTo>
                          <a:lnTo>
                            <a:pt x="2003" y="241"/>
                          </a:lnTo>
                          <a:lnTo>
                            <a:pt x="1985" y="203"/>
                          </a:lnTo>
                          <a:lnTo>
                            <a:pt x="1931" y="205"/>
                          </a:lnTo>
                          <a:lnTo>
                            <a:pt x="1879" y="224"/>
                          </a:lnTo>
                          <a:lnTo>
                            <a:pt x="1838" y="257"/>
                          </a:lnTo>
                          <a:lnTo>
                            <a:pt x="1845" y="309"/>
                          </a:lnTo>
                          <a:lnTo>
                            <a:pt x="1821" y="321"/>
                          </a:lnTo>
                          <a:lnTo>
                            <a:pt x="1761" y="397"/>
                          </a:lnTo>
                          <a:lnTo>
                            <a:pt x="1746" y="438"/>
                          </a:lnTo>
                          <a:lnTo>
                            <a:pt x="1792" y="474"/>
                          </a:lnTo>
                          <a:lnTo>
                            <a:pt x="1785" y="507"/>
                          </a:lnTo>
                          <a:lnTo>
                            <a:pt x="1723" y="552"/>
                          </a:lnTo>
                          <a:lnTo>
                            <a:pt x="1658" y="593"/>
                          </a:lnTo>
                          <a:lnTo>
                            <a:pt x="1655" y="627"/>
                          </a:lnTo>
                          <a:lnTo>
                            <a:pt x="1693" y="660"/>
                          </a:lnTo>
                          <a:lnTo>
                            <a:pt x="1767" y="681"/>
                          </a:lnTo>
                          <a:lnTo>
                            <a:pt x="1733" y="686"/>
                          </a:lnTo>
                          <a:lnTo>
                            <a:pt x="1687" y="709"/>
                          </a:lnTo>
                          <a:lnTo>
                            <a:pt x="1718" y="756"/>
                          </a:lnTo>
                          <a:lnTo>
                            <a:pt x="1738" y="779"/>
                          </a:lnTo>
                          <a:lnTo>
                            <a:pt x="1779" y="775"/>
                          </a:lnTo>
                          <a:lnTo>
                            <a:pt x="1825" y="772"/>
                          </a:lnTo>
                          <a:lnTo>
                            <a:pt x="1862" y="776"/>
                          </a:lnTo>
                          <a:lnTo>
                            <a:pt x="1908" y="818"/>
                          </a:lnTo>
                          <a:lnTo>
                            <a:pt x="1908" y="846"/>
                          </a:lnTo>
                          <a:lnTo>
                            <a:pt x="1930" y="872"/>
                          </a:lnTo>
                          <a:lnTo>
                            <a:pt x="1951" y="939"/>
                          </a:lnTo>
                          <a:lnTo>
                            <a:pt x="1965" y="981"/>
                          </a:lnTo>
                          <a:lnTo>
                            <a:pt x="1974" y="1002"/>
                          </a:lnTo>
                          <a:lnTo>
                            <a:pt x="1956" y="1055"/>
                          </a:lnTo>
                          <a:lnTo>
                            <a:pt x="1969" y="1068"/>
                          </a:lnTo>
                          <a:lnTo>
                            <a:pt x="1986" y="1061"/>
                          </a:lnTo>
                          <a:lnTo>
                            <a:pt x="2002" y="1079"/>
                          </a:lnTo>
                          <a:lnTo>
                            <a:pt x="2032" y="1111"/>
                          </a:lnTo>
                          <a:lnTo>
                            <a:pt x="1997" y="1098"/>
                          </a:lnTo>
                          <a:lnTo>
                            <a:pt x="1980" y="1099"/>
                          </a:lnTo>
                          <a:lnTo>
                            <a:pt x="1974" y="1127"/>
                          </a:lnTo>
                          <a:lnTo>
                            <a:pt x="1976" y="1161"/>
                          </a:lnTo>
                          <a:lnTo>
                            <a:pt x="1997" y="1176"/>
                          </a:lnTo>
                          <a:lnTo>
                            <a:pt x="2012" y="1170"/>
                          </a:lnTo>
                          <a:lnTo>
                            <a:pt x="2022" y="1162"/>
                          </a:lnTo>
                          <a:lnTo>
                            <a:pt x="2042" y="1145"/>
                          </a:lnTo>
                          <a:lnTo>
                            <a:pt x="2037" y="1184"/>
                          </a:lnTo>
                          <a:lnTo>
                            <a:pt x="2031" y="1204"/>
                          </a:lnTo>
                          <a:lnTo>
                            <a:pt x="2005" y="1221"/>
                          </a:lnTo>
                          <a:lnTo>
                            <a:pt x="1988" y="1274"/>
                          </a:lnTo>
                          <a:lnTo>
                            <a:pt x="1999" y="1290"/>
                          </a:lnTo>
                          <a:lnTo>
                            <a:pt x="1992" y="1322"/>
                          </a:lnTo>
                          <a:lnTo>
                            <a:pt x="2017" y="1361"/>
                          </a:lnTo>
                          <a:lnTo>
                            <a:pt x="2019" y="1396"/>
                          </a:lnTo>
                          <a:lnTo>
                            <a:pt x="2028" y="1422"/>
                          </a:lnTo>
                          <a:lnTo>
                            <a:pt x="2057" y="1470"/>
                          </a:lnTo>
                          <a:lnTo>
                            <a:pt x="2069" y="1505"/>
                          </a:lnTo>
                          <a:lnTo>
                            <a:pt x="2086" y="1523"/>
                          </a:lnTo>
                          <a:lnTo>
                            <a:pt x="2120" y="1525"/>
                          </a:lnTo>
                          <a:lnTo>
                            <a:pt x="2146" y="1553"/>
                          </a:lnTo>
                          <a:lnTo>
                            <a:pt x="2170" y="1551"/>
                          </a:lnTo>
                          <a:lnTo>
                            <a:pt x="2178" y="1516"/>
                          </a:lnTo>
                          <a:lnTo>
                            <a:pt x="2186" y="1487"/>
                          </a:lnTo>
                          <a:lnTo>
                            <a:pt x="2180" y="1457"/>
                          </a:lnTo>
                          <a:lnTo>
                            <a:pt x="2207" y="1427"/>
                          </a:lnTo>
                          <a:lnTo>
                            <a:pt x="2216" y="1402"/>
                          </a:lnTo>
                          <a:lnTo>
                            <a:pt x="2216" y="1374"/>
                          </a:lnTo>
                          <a:lnTo>
                            <a:pt x="2232" y="1348"/>
                          </a:lnTo>
                          <a:lnTo>
                            <a:pt x="2256" y="1339"/>
                          </a:lnTo>
                          <a:lnTo>
                            <a:pt x="2279" y="1328"/>
                          </a:lnTo>
                          <a:lnTo>
                            <a:pt x="2290" y="1327"/>
                          </a:lnTo>
                          <a:lnTo>
                            <a:pt x="2327" y="1296"/>
                          </a:lnTo>
                          <a:lnTo>
                            <a:pt x="2351" y="1250"/>
                          </a:lnTo>
                          <a:lnTo>
                            <a:pt x="2370" y="1231"/>
                          </a:lnTo>
                          <a:lnTo>
                            <a:pt x="2388" y="1231"/>
                          </a:lnTo>
                          <a:lnTo>
                            <a:pt x="2439" y="1216"/>
                          </a:lnTo>
                          <a:lnTo>
                            <a:pt x="2485" y="1178"/>
                          </a:lnTo>
                          <a:lnTo>
                            <a:pt x="2531" y="1135"/>
                          </a:lnTo>
                          <a:lnTo>
                            <a:pt x="2508" y="1131"/>
                          </a:lnTo>
                          <a:lnTo>
                            <a:pt x="2462" y="1130"/>
                          </a:lnTo>
                          <a:lnTo>
                            <a:pt x="2482" y="1102"/>
                          </a:lnTo>
                          <a:lnTo>
                            <a:pt x="2477" y="1067"/>
                          </a:lnTo>
                          <a:lnTo>
                            <a:pt x="2497" y="1098"/>
                          </a:lnTo>
                          <a:lnTo>
                            <a:pt x="2511" y="1118"/>
                          </a:lnTo>
                          <a:lnTo>
                            <a:pt x="2542" y="1107"/>
                          </a:lnTo>
                          <a:lnTo>
                            <a:pt x="2535" y="1064"/>
                          </a:lnTo>
                          <a:lnTo>
                            <a:pt x="2512" y="1030"/>
                          </a:lnTo>
                          <a:lnTo>
                            <a:pt x="2489" y="1016"/>
                          </a:lnTo>
                          <a:lnTo>
                            <a:pt x="2499" y="1001"/>
                          </a:lnTo>
                          <a:lnTo>
                            <a:pt x="2532" y="1025"/>
                          </a:lnTo>
                          <a:lnTo>
                            <a:pt x="2532" y="999"/>
                          </a:lnTo>
                          <a:lnTo>
                            <a:pt x="2511" y="959"/>
                          </a:lnTo>
                          <a:lnTo>
                            <a:pt x="2534" y="959"/>
                          </a:lnTo>
                          <a:lnTo>
                            <a:pt x="2558" y="950"/>
                          </a:lnTo>
                          <a:lnTo>
                            <a:pt x="2565" y="929"/>
                          </a:lnTo>
                          <a:lnTo>
                            <a:pt x="2545" y="902"/>
                          </a:lnTo>
                          <a:lnTo>
                            <a:pt x="2583" y="898"/>
                          </a:lnTo>
                          <a:lnTo>
                            <a:pt x="2560" y="842"/>
                          </a:lnTo>
                          <a:lnTo>
                            <a:pt x="2578" y="836"/>
                          </a:lnTo>
                          <a:lnTo>
                            <a:pt x="2575" y="776"/>
                          </a:lnTo>
                          <a:lnTo>
                            <a:pt x="2543" y="738"/>
                          </a:lnTo>
                          <a:lnTo>
                            <a:pt x="2571" y="715"/>
                          </a:lnTo>
                          <a:lnTo>
                            <a:pt x="2598" y="712"/>
                          </a:lnTo>
                          <a:lnTo>
                            <a:pt x="2577" y="660"/>
                          </a:lnTo>
                          <a:lnTo>
                            <a:pt x="2577" y="566"/>
                          </a:lnTo>
                          <a:lnTo>
                            <a:pt x="2591" y="507"/>
                          </a:lnTo>
                          <a:lnTo>
                            <a:pt x="2611" y="437"/>
                          </a:lnTo>
                          <a:lnTo>
                            <a:pt x="2571" y="432"/>
                          </a:lnTo>
                          <a:lnTo>
                            <a:pt x="2626" y="414"/>
                          </a:lnTo>
                          <a:lnTo>
                            <a:pt x="2635" y="391"/>
                          </a:lnTo>
                          <a:lnTo>
                            <a:pt x="2706" y="312"/>
                          </a:lnTo>
                          <a:lnTo>
                            <a:pt x="2696" y="263"/>
                          </a:lnTo>
                          <a:close/>
                          <a:moveTo>
                            <a:pt x="1020" y="655"/>
                          </a:moveTo>
                          <a:lnTo>
                            <a:pt x="1026" y="630"/>
                          </a:lnTo>
                          <a:lnTo>
                            <a:pt x="1002" y="618"/>
                          </a:lnTo>
                          <a:lnTo>
                            <a:pt x="977" y="626"/>
                          </a:lnTo>
                          <a:lnTo>
                            <a:pt x="963" y="652"/>
                          </a:lnTo>
                          <a:lnTo>
                            <a:pt x="988" y="678"/>
                          </a:lnTo>
                          <a:lnTo>
                            <a:pt x="1020" y="655"/>
                          </a:lnTo>
                          <a:close/>
                          <a:moveTo>
                            <a:pt x="279" y="1622"/>
                          </a:moveTo>
                          <a:lnTo>
                            <a:pt x="270" y="1626"/>
                          </a:lnTo>
                          <a:lnTo>
                            <a:pt x="255" y="1639"/>
                          </a:lnTo>
                          <a:lnTo>
                            <a:pt x="258" y="1653"/>
                          </a:lnTo>
                          <a:lnTo>
                            <a:pt x="267" y="1662"/>
                          </a:lnTo>
                          <a:lnTo>
                            <a:pt x="284" y="1650"/>
                          </a:lnTo>
                          <a:lnTo>
                            <a:pt x="299" y="1634"/>
                          </a:lnTo>
                          <a:lnTo>
                            <a:pt x="291" y="1625"/>
                          </a:lnTo>
                          <a:lnTo>
                            <a:pt x="279" y="1622"/>
                          </a:lnTo>
                          <a:close/>
                          <a:moveTo>
                            <a:pt x="649" y="1740"/>
                          </a:moveTo>
                          <a:lnTo>
                            <a:pt x="633" y="1743"/>
                          </a:lnTo>
                          <a:lnTo>
                            <a:pt x="624" y="1739"/>
                          </a:lnTo>
                          <a:lnTo>
                            <a:pt x="624" y="1748"/>
                          </a:lnTo>
                          <a:lnTo>
                            <a:pt x="627" y="1762"/>
                          </a:lnTo>
                          <a:lnTo>
                            <a:pt x="635" y="1771"/>
                          </a:lnTo>
                          <a:lnTo>
                            <a:pt x="643" y="1783"/>
                          </a:lnTo>
                          <a:lnTo>
                            <a:pt x="652" y="1797"/>
                          </a:lnTo>
                          <a:lnTo>
                            <a:pt x="660" y="1797"/>
                          </a:lnTo>
                          <a:lnTo>
                            <a:pt x="644" y="1774"/>
                          </a:lnTo>
                          <a:lnTo>
                            <a:pt x="649" y="1740"/>
                          </a:lnTo>
                          <a:close/>
                          <a:moveTo>
                            <a:pt x="791" y="1895"/>
                          </a:moveTo>
                          <a:lnTo>
                            <a:pt x="784" y="1882"/>
                          </a:lnTo>
                          <a:lnTo>
                            <a:pt x="767" y="1869"/>
                          </a:lnTo>
                          <a:lnTo>
                            <a:pt x="758" y="1857"/>
                          </a:lnTo>
                          <a:lnTo>
                            <a:pt x="753" y="1848"/>
                          </a:lnTo>
                          <a:lnTo>
                            <a:pt x="736" y="1845"/>
                          </a:lnTo>
                          <a:lnTo>
                            <a:pt x="726" y="1842"/>
                          </a:lnTo>
                          <a:lnTo>
                            <a:pt x="707" y="1836"/>
                          </a:lnTo>
                          <a:lnTo>
                            <a:pt x="706" y="1842"/>
                          </a:lnTo>
                          <a:lnTo>
                            <a:pt x="713" y="1857"/>
                          </a:lnTo>
                          <a:lnTo>
                            <a:pt x="730" y="1862"/>
                          </a:lnTo>
                          <a:lnTo>
                            <a:pt x="733" y="1869"/>
                          </a:lnTo>
                          <a:lnTo>
                            <a:pt x="749" y="1879"/>
                          </a:lnTo>
                          <a:lnTo>
                            <a:pt x="755" y="1888"/>
                          </a:lnTo>
                          <a:lnTo>
                            <a:pt x="782" y="1899"/>
                          </a:lnTo>
                          <a:lnTo>
                            <a:pt x="791" y="1895"/>
                          </a:lnTo>
                          <a:close/>
                          <a:moveTo>
                            <a:pt x="1876" y="1952"/>
                          </a:moveTo>
                          <a:lnTo>
                            <a:pt x="1887" y="1962"/>
                          </a:lnTo>
                          <a:lnTo>
                            <a:pt x="1865" y="1977"/>
                          </a:lnTo>
                          <a:lnTo>
                            <a:pt x="1828" y="1991"/>
                          </a:lnTo>
                          <a:lnTo>
                            <a:pt x="1810" y="2002"/>
                          </a:lnTo>
                          <a:lnTo>
                            <a:pt x="1792" y="2018"/>
                          </a:lnTo>
                          <a:lnTo>
                            <a:pt x="1778" y="2017"/>
                          </a:lnTo>
                          <a:lnTo>
                            <a:pt x="1778" y="1997"/>
                          </a:lnTo>
                          <a:lnTo>
                            <a:pt x="1807" y="1977"/>
                          </a:lnTo>
                          <a:lnTo>
                            <a:pt x="1779" y="1977"/>
                          </a:lnTo>
                          <a:lnTo>
                            <a:pt x="1761" y="1980"/>
                          </a:lnTo>
                          <a:lnTo>
                            <a:pt x="1764" y="1988"/>
                          </a:lnTo>
                          <a:lnTo>
                            <a:pt x="1746" y="2000"/>
                          </a:lnTo>
                          <a:lnTo>
                            <a:pt x="1727" y="2008"/>
                          </a:lnTo>
                          <a:lnTo>
                            <a:pt x="1710" y="2015"/>
                          </a:lnTo>
                          <a:lnTo>
                            <a:pt x="1701" y="2029"/>
                          </a:lnTo>
                          <a:lnTo>
                            <a:pt x="1698" y="2034"/>
                          </a:lnTo>
                          <a:lnTo>
                            <a:pt x="1698" y="2046"/>
                          </a:lnTo>
                          <a:lnTo>
                            <a:pt x="1703" y="2058"/>
                          </a:lnTo>
                          <a:lnTo>
                            <a:pt x="1710" y="2060"/>
                          </a:lnTo>
                          <a:lnTo>
                            <a:pt x="1709" y="2051"/>
                          </a:lnTo>
                          <a:lnTo>
                            <a:pt x="1713" y="2057"/>
                          </a:lnTo>
                          <a:lnTo>
                            <a:pt x="1712" y="2063"/>
                          </a:lnTo>
                          <a:lnTo>
                            <a:pt x="1701" y="2066"/>
                          </a:lnTo>
                          <a:lnTo>
                            <a:pt x="1692" y="2066"/>
                          </a:lnTo>
                          <a:lnTo>
                            <a:pt x="1680" y="2071"/>
                          </a:lnTo>
                          <a:lnTo>
                            <a:pt x="1672" y="2071"/>
                          </a:lnTo>
                          <a:lnTo>
                            <a:pt x="1663" y="2072"/>
                          </a:lnTo>
                          <a:lnTo>
                            <a:pt x="1647" y="2078"/>
                          </a:lnTo>
                          <a:lnTo>
                            <a:pt x="1673" y="2075"/>
                          </a:lnTo>
                          <a:lnTo>
                            <a:pt x="1678" y="2078"/>
                          </a:lnTo>
                          <a:lnTo>
                            <a:pt x="1653" y="2086"/>
                          </a:lnTo>
                          <a:lnTo>
                            <a:pt x="1643" y="2086"/>
                          </a:lnTo>
                          <a:lnTo>
                            <a:pt x="1644" y="2083"/>
                          </a:lnTo>
                          <a:lnTo>
                            <a:pt x="1638" y="2089"/>
                          </a:lnTo>
                          <a:lnTo>
                            <a:pt x="1643" y="2091"/>
                          </a:lnTo>
                          <a:lnTo>
                            <a:pt x="1640" y="2106"/>
                          </a:lnTo>
                          <a:lnTo>
                            <a:pt x="1627" y="2123"/>
                          </a:lnTo>
                          <a:lnTo>
                            <a:pt x="1626" y="2118"/>
                          </a:lnTo>
                          <a:lnTo>
                            <a:pt x="1623" y="2117"/>
                          </a:lnTo>
                          <a:lnTo>
                            <a:pt x="1617" y="2111"/>
                          </a:lnTo>
                          <a:lnTo>
                            <a:pt x="1620" y="2123"/>
                          </a:lnTo>
                          <a:lnTo>
                            <a:pt x="1624" y="2128"/>
                          </a:lnTo>
                          <a:lnTo>
                            <a:pt x="1624" y="2135"/>
                          </a:lnTo>
                          <a:lnTo>
                            <a:pt x="1620" y="2145"/>
                          </a:lnTo>
                          <a:lnTo>
                            <a:pt x="1609" y="2161"/>
                          </a:lnTo>
                          <a:lnTo>
                            <a:pt x="1607" y="2160"/>
                          </a:lnTo>
                          <a:lnTo>
                            <a:pt x="1614" y="2146"/>
                          </a:lnTo>
                          <a:lnTo>
                            <a:pt x="1604" y="2137"/>
                          </a:lnTo>
                          <a:lnTo>
                            <a:pt x="1603" y="2118"/>
                          </a:lnTo>
                          <a:lnTo>
                            <a:pt x="1598" y="2129"/>
                          </a:lnTo>
                          <a:lnTo>
                            <a:pt x="1603" y="2143"/>
                          </a:lnTo>
                          <a:lnTo>
                            <a:pt x="1591" y="2138"/>
                          </a:lnTo>
                          <a:lnTo>
                            <a:pt x="1603" y="2146"/>
                          </a:lnTo>
                          <a:lnTo>
                            <a:pt x="1604" y="2166"/>
                          </a:lnTo>
                          <a:lnTo>
                            <a:pt x="1609" y="2168"/>
                          </a:lnTo>
                          <a:lnTo>
                            <a:pt x="1611" y="2175"/>
                          </a:lnTo>
                          <a:lnTo>
                            <a:pt x="1614" y="2197"/>
                          </a:lnTo>
                          <a:lnTo>
                            <a:pt x="1601" y="2212"/>
                          </a:lnTo>
                          <a:lnTo>
                            <a:pt x="1584" y="2218"/>
                          </a:lnTo>
                          <a:lnTo>
                            <a:pt x="1574" y="2231"/>
                          </a:lnTo>
                          <a:lnTo>
                            <a:pt x="1565" y="2232"/>
                          </a:lnTo>
                          <a:lnTo>
                            <a:pt x="1555" y="2240"/>
                          </a:lnTo>
                          <a:lnTo>
                            <a:pt x="1554" y="2246"/>
                          </a:lnTo>
                          <a:lnTo>
                            <a:pt x="1534" y="2260"/>
                          </a:lnTo>
                          <a:lnTo>
                            <a:pt x="1525" y="2269"/>
                          </a:lnTo>
                          <a:lnTo>
                            <a:pt x="1517" y="2281"/>
                          </a:lnTo>
                          <a:lnTo>
                            <a:pt x="1514" y="2295"/>
                          </a:lnTo>
                          <a:lnTo>
                            <a:pt x="1517" y="2309"/>
                          </a:lnTo>
                          <a:lnTo>
                            <a:pt x="1523" y="2326"/>
                          </a:lnTo>
                          <a:lnTo>
                            <a:pt x="1531" y="2340"/>
                          </a:lnTo>
                          <a:lnTo>
                            <a:pt x="1531" y="2349"/>
                          </a:lnTo>
                          <a:lnTo>
                            <a:pt x="1538" y="2370"/>
                          </a:lnTo>
                          <a:lnTo>
                            <a:pt x="1538" y="2384"/>
                          </a:lnTo>
                          <a:lnTo>
                            <a:pt x="1537" y="2392"/>
                          </a:lnTo>
                          <a:lnTo>
                            <a:pt x="1534" y="2403"/>
                          </a:lnTo>
                          <a:lnTo>
                            <a:pt x="1528" y="2406"/>
                          </a:lnTo>
                          <a:lnTo>
                            <a:pt x="1520" y="2403"/>
                          </a:lnTo>
                          <a:lnTo>
                            <a:pt x="1517" y="2395"/>
                          </a:lnTo>
                          <a:lnTo>
                            <a:pt x="1511" y="2390"/>
                          </a:lnTo>
                          <a:lnTo>
                            <a:pt x="1502" y="2374"/>
                          </a:lnTo>
                          <a:lnTo>
                            <a:pt x="1494" y="2360"/>
                          </a:lnTo>
                          <a:lnTo>
                            <a:pt x="1491" y="2352"/>
                          </a:lnTo>
                          <a:lnTo>
                            <a:pt x="1494" y="2338"/>
                          </a:lnTo>
                          <a:lnTo>
                            <a:pt x="1489" y="2327"/>
                          </a:lnTo>
                          <a:lnTo>
                            <a:pt x="1476" y="2312"/>
                          </a:lnTo>
                          <a:lnTo>
                            <a:pt x="1469" y="2309"/>
                          </a:lnTo>
                          <a:lnTo>
                            <a:pt x="1453" y="2317"/>
                          </a:lnTo>
                          <a:lnTo>
                            <a:pt x="1449" y="2317"/>
                          </a:lnTo>
                          <a:lnTo>
                            <a:pt x="1440" y="2307"/>
                          </a:lnTo>
                          <a:lnTo>
                            <a:pt x="1430" y="2303"/>
                          </a:lnTo>
                          <a:lnTo>
                            <a:pt x="1410" y="2304"/>
                          </a:lnTo>
                          <a:lnTo>
                            <a:pt x="1394" y="2303"/>
                          </a:lnTo>
                          <a:lnTo>
                            <a:pt x="1382" y="2304"/>
                          </a:lnTo>
                          <a:lnTo>
                            <a:pt x="1374" y="2307"/>
                          </a:lnTo>
                          <a:lnTo>
                            <a:pt x="1377" y="2312"/>
                          </a:lnTo>
                          <a:lnTo>
                            <a:pt x="1377" y="2320"/>
                          </a:lnTo>
                          <a:lnTo>
                            <a:pt x="1380" y="2324"/>
                          </a:lnTo>
                          <a:lnTo>
                            <a:pt x="1377" y="2327"/>
                          </a:lnTo>
                          <a:lnTo>
                            <a:pt x="1371" y="2324"/>
                          </a:lnTo>
                          <a:lnTo>
                            <a:pt x="1365" y="2327"/>
                          </a:lnTo>
                          <a:lnTo>
                            <a:pt x="1353" y="2327"/>
                          </a:lnTo>
                          <a:lnTo>
                            <a:pt x="1339" y="2317"/>
                          </a:lnTo>
                          <a:lnTo>
                            <a:pt x="1325" y="2320"/>
                          </a:lnTo>
                          <a:lnTo>
                            <a:pt x="1313" y="2315"/>
                          </a:lnTo>
                          <a:lnTo>
                            <a:pt x="1302" y="2317"/>
                          </a:lnTo>
                          <a:lnTo>
                            <a:pt x="1287" y="2321"/>
                          </a:lnTo>
                          <a:lnTo>
                            <a:pt x="1272" y="2335"/>
                          </a:lnTo>
                          <a:lnTo>
                            <a:pt x="1255" y="2343"/>
                          </a:lnTo>
                          <a:lnTo>
                            <a:pt x="1245" y="2354"/>
                          </a:lnTo>
                          <a:lnTo>
                            <a:pt x="1241" y="2361"/>
                          </a:lnTo>
                          <a:lnTo>
                            <a:pt x="1241" y="2375"/>
                          </a:lnTo>
                          <a:lnTo>
                            <a:pt x="1241" y="2384"/>
                          </a:lnTo>
                          <a:lnTo>
                            <a:pt x="1244" y="2390"/>
                          </a:lnTo>
                          <a:lnTo>
                            <a:pt x="1245" y="2390"/>
                          </a:lnTo>
                          <a:lnTo>
                            <a:pt x="1245" y="2390"/>
                          </a:lnTo>
                          <a:lnTo>
                            <a:pt x="1245" y="2390"/>
                          </a:lnTo>
                          <a:lnTo>
                            <a:pt x="1244" y="2390"/>
                          </a:lnTo>
                          <a:lnTo>
                            <a:pt x="1238" y="2407"/>
                          </a:lnTo>
                          <a:lnTo>
                            <a:pt x="1235" y="2421"/>
                          </a:lnTo>
                          <a:lnTo>
                            <a:pt x="1233" y="2446"/>
                          </a:lnTo>
                          <a:lnTo>
                            <a:pt x="1232" y="2455"/>
                          </a:lnTo>
                          <a:lnTo>
                            <a:pt x="1235" y="2464"/>
                          </a:lnTo>
                          <a:lnTo>
                            <a:pt x="1241" y="2473"/>
                          </a:lnTo>
                          <a:lnTo>
                            <a:pt x="1244" y="2487"/>
                          </a:lnTo>
                          <a:lnTo>
                            <a:pt x="1255" y="2501"/>
                          </a:lnTo>
                          <a:lnTo>
                            <a:pt x="1259" y="2512"/>
                          </a:lnTo>
                          <a:lnTo>
                            <a:pt x="1265" y="2521"/>
                          </a:lnTo>
                          <a:lnTo>
                            <a:pt x="1284" y="2526"/>
                          </a:lnTo>
                          <a:lnTo>
                            <a:pt x="1291" y="2533"/>
                          </a:lnTo>
                          <a:lnTo>
                            <a:pt x="1307" y="2529"/>
                          </a:lnTo>
                          <a:lnTo>
                            <a:pt x="1319" y="2526"/>
                          </a:lnTo>
                          <a:lnTo>
                            <a:pt x="1333" y="2523"/>
                          </a:lnTo>
                          <a:lnTo>
                            <a:pt x="1344" y="2520"/>
                          </a:lnTo>
                          <a:lnTo>
                            <a:pt x="1354" y="2512"/>
                          </a:lnTo>
                          <a:lnTo>
                            <a:pt x="1359" y="2503"/>
                          </a:lnTo>
                          <a:lnTo>
                            <a:pt x="1361" y="2487"/>
                          </a:lnTo>
                          <a:lnTo>
                            <a:pt x="1364" y="2481"/>
                          </a:lnTo>
                          <a:lnTo>
                            <a:pt x="1374" y="2477"/>
                          </a:lnTo>
                          <a:lnTo>
                            <a:pt x="1393" y="2472"/>
                          </a:lnTo>
                          <a:lnTo>
                            <a:pt x="1408" y="2473"/>
                          </a:lnTo>
                          <a:lnTo>
                            <a:pt x="1419" y="2472"/>
                          </a:lnTo>
                          <a:lnTo>
                            <a:pt x="1422" y="2475"/>
                          </a:lnTo>
                          <a:lnTo>
                            <a:pt x="1422" y="2484"/>
                          </a:lnTo>
                          <a:lnTo>
                            <a:pt x="1413" y="2495"/>
                          </a:lnTo>
                          <a:lnTo>
                            <a:pt x="1408" y="2506"/>
                          </a:lnTo>
                          <a:lnTo>
                            <a:pt x="1411" y="2509"/>
                          </a:lnTo>
                          <a:lnTo>
                            <a:pt x="1410" y="2517"/>
                          </a:lnTo>
                          <a:lnTo>
                            <a:pt x="1405" y="2532"/>
                          </a:lnTo>
                          <a:lnTo>
                            <a:pt x="1400" y="2527"/>
                          </a:lnTo>
                          <a:lnTo>
                            <a:pt x="1397" y="2527"/>
                          </a:lnTo>
                          <a:lnTo>
                            <a:pt x="1397" y="2529"/>
                          </a:lnTo>
                          <a:lnTo>
                            <a:pt x="1400" y="2529"/>
                          </a:lnTo>
                          <a:lnTo>
                            <a:pt x="1400" y="2535"/>
                          </a:lnTo>
                          <a:lnTo>
                            <a:pt x="1397" y="2543"/>
                          </a:lnTo>
                          <a:lnTo>
                            <a:pt x="1399" y="2546"/>
                          </a:lnTo>
                          <a:lnTo>
                            <a:pt x="1397" y="2552"/>
                          </a:lnTo>
                          <a:lnTo>
                            <a:pt x="1397" y="2553"/>
                          </a:lnTo>
                          <a:lnTo>
                            <a:pt x="1396" y="2563"/>
                          </a:lnTo>
                          <a:lnTo>
                            <a:pt x="1393" y="2567"/>
                          </a:lnTo>
                          <a:lnTo>
                            <a:pt x="1390" y="2567"/>
                          </a:lnTo>
                          <a:lnTo>
                            <a:pt x="1387" y="2573"/>
                          </a:lnTo>
                          <a:lnTo>
                            <a:pt x="1391" y="2576"/>
                          </a:lnTo>
                          <a:lnTo>
                            <a:pt x="1393" y="2575"/>
                          </a:lnTo>
                          <a:lnTo>
                            <a:pt x="1399" y="2576"/>
                          </a:lnTo>
                          <a:lnTo>
                            <a:pt x="1400" y="2578"/>
                          </a:lnTo>
                          <a:lnTo>
                            <a:pt x="1403" y="2573"/>
                          </a:lnTo>
                          <a:lnTo>
                            <a:pt x="1408" y="2573"/>
                          </a:lnTo>
                          <a:lnTo>
                            <a:pt x="1410" y="2575"/>
                          </a:lnTo>
                          <a:lnTo>
                            <a:pt x="1413" y="2575"/>
                          </a:lnTo>
                          <a:lnTo>
                            <a:pt x="1420" y="2576"/>
                          </a:lnTo>
                          <a:lnTo>
                            <a:pt x="1430" y="2575"/>
                          </a:lnTo>
                          <a:lnTo>
                            <a:pt x="1434" y="2573"/>
                          </a:lnTo>
                          <a:lnTo>
                            <a:pt x="1436" y="2572"/>
                          </a:lnTo>
                          <a:lnTo>
                            <a:pt x="1442" y="2572"/>
                          </a:lnTo>
                          <a:lnTo>
                            <a:pt x="1446" y="2573"/>
                          </a:lnTo>
                          <a:lnTo>
                            <a:pt x="1451" y="2573"/>
                          </a:lnTo>
                          <a:lnTo>
                            <a:pt x="1454" y="2572"/>
                          </a:lnTo>
                          <a:lnTo>
                            <a:pt x="1462" y="2575"/>
                          </a:lnTo>
                          <a:lnTo>
                            <a:pt x="1465" y="2575"/>
                          </a:lnTo>
                          <a:lnTo>
                            <a:pt x="1469" y="2578"/>
                          </a:lnTo>
                          <a:lnTo>
                            <a:pt x="1474" y="2583"/>
                          </a:lnTo>
                          <a:lnTo>
                            <a:pt x="1482" y="2584"/>
                          </a:lnTo>
                          <a:lnTo>
                            <a:pt x="1485" y="2590"/>
                          </a:lnTo>
                          <a:lnTo>
                            <a:pt x="1485" y="2592"/>
                          </a:lnTo>
                          <a:lnTo>
                            <a:pt x="1483" y="2595"/>
                          </a:lnTo>
                          <a:lnTo>
                            <a:pt x="1485" y="2601"/>
                          </a:lnTo>
                          <a:lnTo>
                            <a:pt x="1482" y="2607"/>
                          </a:lnTo>
                          <a:lnTo>
                            <a:pt x="1479" y="2615"/>
                          </a:lnTo>
                          <a:lnTo>
                            <a:pt x="1479" y="2623"/>
                          </a:lnTo>
                          <a:lnTo>
                            <a:pt x="1480" y="2627"/>
                          </a:lnTo>
                          <a:lnTo>
                            <a:pt x="1480" y="2635"/>
                          </a:lnTo>
                          <a:lnTo>
                            <a:pt x="1477" y="2636"/>
                          </a:lnTo>
                          <a:lnTo>
                            <a:pt x="1476" y="2644"/>
                          </a:lnTo>
                          <a:lnTo>
                            <a:pt x="1477" y="2649"/>
                          </a:lnTo>
                          <a:lnTo>
                            <a:pt x="1474" y="2653"/>
                          </a:lnTo>
                          <a:lnTo>
                            <a:pt x="1474" y="2658"/>
                          </a:lnTo>
                          <a:lnTo>
                            <a:pt x="1477" y="2661"/>
                          </a:lnTo>
                          <a:lnTo>
                            <a:pt x="1482" y="2670"/>
                          </a:lnTo>
                          <a:lnTo>
                            <a:pt x="1488" y="2678"/>
                          </a:lnTo>
                          <a:lnTo>
                            <a:pt x="1495" y="2684"/>
                          </a:lnTo>
                          <a:lnTo>
                            <a:pt x="1502" y="2692"/>
                          </a:lnTo>
                          <a:lnTo>
                            <a:pt x="1502" y="2695"/>
                          </a:lnTo>
                          <a:lnTo>
                            <a:pt x="1508" y="2695"/>
                          </a:lnTo>
                          <a:lnTo>
                            <a:pt x="1511" y="2693"/>
                          </a:lnTo>
                          <a:lnTo>
                            <a:pt x="1515" y="2698"/>
                          </a:lnTo>
                          <a:lnTo>
                            <a:pt x="1523" y="2696"/>
                          </a:lnTo>
                          <a:lnTo>
                            <a:pt x="1531" y="2693"/>
                          </a:lnTo>
                          <a:lnTo>
                            <a:pt x="1542" y="2689"/>
                          </a:lnTo>
                          <a:lnTo>
                            <a:pt x="1548" y="2684"/>
                          </a:lnTo>
                          <a:lnTo>
                            <a:pt x="1557" y="2686"/>
                          </a:lnTo>
                          <a:lnTo>
                            <a:pt x="1555" y="2687"/>
                          </a:lnTo>
                          <a:lnTo>
                            <a:pt x="1566" y="2687"/>
                          </a:lnTo>
                          <a:lnTo>
                            <a:pt x="1574" y="2690"/>
                          </a:lnTo>
                          <a:lnTo>
                            <a:pt x="1578" y="2695"/>
                          </a:lnTo>
                          <a:lnTo>
                            <a:pt x="1584" y="2701"/>
                          </a:lnTo>
                          <a:lnTo>
                            <a:pt x="1583" y="2703"/>
                          </a:lnTo>
                          <a:lnTo>
                            <a:pt x="1588" y="2713"/>
                          </a:lnTo>
                          <a:lnTo>
                            <a:pt x="1584" y="2718"/>
                          </a:lnTo>
                          <a:lnTo>
                            <a:pt x="1578" y="2716"/>
                          </a:lnTo>
                          <a:lnTo>
                            <a:pt x="1577" y="2726"/>
                          </a:lnTo>
                          <a:lnTo>
                            <a:pt x="1571" y="2721"/>
                          </a:lnTo>
                          <a:lnTo>
                            <a:pt x="1566" y="2712"/>
                          </a:lnTo>
                          <a:lnTo>
                            <a:pt x="1571" y="2707"/>
                          </a:lnTo>
                          <a:lnTo>
                            <a:pt x="1566" y="2706"/>
                          </a:lnTo>
                          <a:lnTo>
                            <a:pt x="1563" y="2699"/>
                          </a:lnTo>
                          <a:lnTo>
                            <a:pt x="1555" y="2695"/>
                          </a:lnTo>
                          <a:lnTo>
                            <a:pt x="1548" y="2696"/>
                          </a:lnTo>
                          <a:lnTo>
                            <a:pt x="1543" y="2703"/>
                          </a:lnTo>
                          <a:lnTo>
                            <a:pt x="1537" y="2706"/>
                          </a:lnTo>
                          <a:lnTo>
                            <a:pt x="1532" y="2707"/>
                          </a:lnTo>
                          <a:lnTo>
                            <a:pt x="1531" y="2710"/>
                          </a:lnTo>
                          <a:lnTo>
                            <a:pt x="1540" y="2719"/>
                          </a:lnTo>
                          <a:lnTo>
                            <a:pt x="1535" y="2723"/>
                          </a:lnTo>
                          <a:lnTo>
                            <a:pt x="1532" y="2724"/>
                          </a:lnTo>
                          <a:lnTo>
                            <a:pt x="1525" y="2726"/>
                          </a:lnTo>
                          <a:lnTo>
                            <a:pt x="1522" y="2715"/>
                          </a:lnTo>
                          <a:lnTo>
                            <a:pt x="1518" y="2718"/>
                          </a:lnTo>
                          <a:lnTo>
                            <a:pt x="1514" y="2716"/>
                          </a:lnTo>
                          <a:lnTo>
                            <a:pt x="1509" y="2710"/>
                          </a:lnTo>
                          <a:lnTo>
                            <a:pt x="1503" y="2709"/>
                          </a:lnTo>
                          <a:lnTo>
                            <a:pt x="1499" y="2707"/>
                          </a:lnTo>
                          <a:lnTo>
                            <a:pt x="1491" y="2707"/>
                          </a:lnTo>
                          <a:lnTo>
                            <a:pt x="1491" y="2710"/>
                          </a:lnTo>
                          <a:lnTo>
                            <a:pt x="1489" y="2709"/>
                          </a:lnTo>
                          <a:lnTo>
                            <a:pt x="1479" y="2704"/>
                          </a:lnTo>
                          <a:lnTo>
                            <a:pt x="1476" y="2701"/>
                          </a:lnTo>
                          <a:lnTo>
                            <a:pt x="1477" y="2698"/>
                          </a:lnTo>
                          <a:lnTo>
                            <a:pt x="1477" y="2693"/>
                          </a:lnTo>
                          <a:lnTo>
                            <a:pt x="1472" y="2690"/>
                          </a:lnTo>
                          <a:lnTo>
                            <a:pt x="1466" y="2686"/>
                          </a:lnTo>
                          <a:lnTo>
                            <a:pt x="1460" y="2684"/>
                          </a:lnTo>
                          <a:lnTo>
                            <a:pt x="1459" y="2679"/>
                          </a:lnTo>
                          <a:lnTo>
                            <a:pt x="1454" y="2676"/>
                          </a:lnTo>
                          <a:lnTo>
                            <a:pt x="1456" y="2681"/>
                          </a:lnTo>
                          <a:lnTo>
                            <a:pt x="1451" y="2686"/>
                          </a:lnTo>
                          <a:lnTo>
                            <a:pt x="1448" y="2679"/>
                          </a:lnTo>
                          <a:lnTo>
                            <a:pt x="1442" y="2678"/>
                          </a:lnTo>
                          <a:lnTo>
                            <a:pt x="1440" y="2675"/>
                          </a:lnTo>
                          <a:lnTo>
                            <a:pt x="1440" y="2670"/>
                          </a:lnTo>
                          <a:lnTo>
                            <a:pt x="1442" y="2664"/>
                          </a:lnTo>
                          <a:lnTo>
                            <a:pt x="1437" y="2661"/>
                          </a:lnTo>
                          <a:lnTo>
                            <a:pt x="1442" y="2658"/>
                          </a:lnTo>
                          <a:lnTo>
                            <a:pt x="1436" y="2653"/>
                          </a:lnTo>
                          <a:lnTo>
                            <a:pt x="1428" y="2646"/>
                          </a:lnTo>
                          <a:lnTo>
                            <a:pt x="1423" y="2640"/>
                          </a:lnTo>
                          <a:lnTo>
                            <a:pt x="1416" y="2635"/>
                          </a:lnTo>
                          <a:lnTo>
                            <a:pt x="1408" y="2626"/>
                          </a:lnTo>
                          <a:lnTo>
                            <a:pt x="1410" y="2624"/>
                          </a:lnTo>
                          <a:lnTo>
                            <a:pt x="1413" y="2626"/>
                          </a:lnTo>
                          <a:lnTo>
                            <a:pt x="1414" y="2626"/>
                          </a:lnTo>
                          <a:lnTo>
                            <a:pt x="1411" y="2620"/>
                          </a:lnTo>
                          <a:lnTo>
                            <a:pt x="1405" y="2618"/>
                          </a:lnTo>
                          <a:lnTo>
                            <a:pt x="1403" y="2623"/>
                          </a:lnTo>
                          <a:lnTo>
                            <a:pt x="1394" y="2623"/>
                          </a:lnTo>
                          <a:lnTo>
                            <a:pt x="1388" y="2620"/>
                          </a:lnTo>
                          <a:lnTo>
                            <a:pt x="1380" y="2616"/>
                          </a:lnTo>
                          <a:lnTo>
                            <a:pt x="1371" y="2615"/>
                          </a:lnTo>
                          <a:lnTo>
                            <a:pt x="1367" y="2612"/>
                          </a:lnTo>
                          <a:lnTo>
                            <a:pt x="1357" y="2609"/>
                          </a:lnTo>
                          <a:lnTo>
                            <a:pt x="1347" y="2609"/>
                          </a:lnTo>
                          <a:lnTo>
                            <a:pt x="1339" y="2606"/>
                          </a:lnTo>
                          <a:lnTo>
                            <a:pt x="1330" y="2598"/>
                          </a:lnTo>
                          <a:lnTo>
                            <a:pt x="1310" y="2578"/>
                          </a:lnTo>
                          <a:lnTo>
                            <a:pt x="1301" y="2573"/>
                          </a:lnTo>
                          <a:lnTo>
                            <a:pt x="1287" y="2569"/>
                          </a:lnTo>
                          <a:lnTo>
                            <a:pt x="1278" y="2569"/>
                          </a:lnTo>
                          <a:lnTo>
                            <a:pt x="1264" y="2576"/>
                          </a:lnTo>
                          <a:lnTo>
                            <a:pt x="1255" y="2578"/>
                          </a:lnTo>
                          <a:lnTo>
                            <a:pt x="1242" y="2573"/>
                          </a:lnTo>
                          <a:lnTo>
                            <a:pt x="1230" y="2570"/>
                          </a:lnTo>
                          <a:lnTo>
                            <a:pt x="1213" y="2561"/>
                          </a:lnTo>
                          <a:lnTo>
                            <a:pt x="1201" y="2560"/>
                          </a:lnTo>
                          <a:lnTo>
                            <a:pt x="1181" y="2550"/>
                          </a:lnTo>
                          <a:lnTo>
                            <a:pt x="1167" y="2543"/>
                          </a:lnTo>
                          <a:lnTo>
                            <a:pt x="1163" y="2538"/>
                          </a:lnTo>
                          <a:lnTo>
                            <a:pt x="1153" y="2537"/>
                          </a:lnTo>
                          <a:lnTo>
                            <a:pt x="1135" y="2530"/>
                          </a:lnTo>
                          <a:lnTo>
                            <a:pt x="1129" y="2523"/>
                          </a:lnTo>
                          <a:lnTo>
                            <a:pt x="1109" y="2512"/>
                          </a:lnTo>
                          <a:lnTo>
                            <a:pt x="1101" y="2501"/>
                          </a:lnTo>
                          <a:lnTo>
                            <a:pt x="1097" y="2492"/>
                          </a:lnTo>
                          <a:lnTo>
                            <a:pt x="1103" y="2490"/>
                          </a:lnTo>
                          <a:lnTo>
                            <a:pt x="1101" y="2484"/>
                          </a:lnTo>
                          <a:lnTo>
                            <a:pt x="1104" y="2480"/>
                          </a:lnTo>
                          <a:lnTo>
                            <a:pt x="1104" y="2473"/>
                          </a:lnTo>
                          <a:lnTo>
                            <a:pt x="1100" y="2466"/>
                          </a:lnTo>
                          <a:lnTo>
                            <a:pt x="1098" y="2458"/>
                          </a:lnTo>
                          <a:lnTo>
                            <a:pt x="1092" y="2449"/>
                          </a:lnTo>
                          <a:lnTo>
                            <a:pt x="1077" y="2430"/>
                          </a:lnTo>
                          <a:lnTo>
                            <a:pt x="1060" y="2415"/>
                          </a:lnTo>
                          <a:lnTo>
                            <a:pt x="1051" y="2404"/>
                          </a:lnTo>
                          <a:lnTo>
                            <a:pt x="1037" y="2395"/>
                          </a:lnTo>
                          <a:lnTo>
                            <a:pt x="1034" y="2390"/>
                          </a:lnTo>
                          <a:lnTo>
                            <a:pt x="1035" y="2380"/>
                          </a:lnTo>
                          <a:lnTo>
                            <a:pt x="1028" y="2375"/>
                          </a:lnTo>
                          <a:lnTo>
                            <a:pt x="1017" y="2366"/>
                          </a:lnTo>
                          <a:lnTo>
                            <a:pt x="1012" y="2352"/>
                          </a:lnTo>
                          <a:lnTo>
                            <a:pt x="1003" y="2351"/>
                          </a:lnTo>
                          <a:lnTo>
                            <a:pt x="994" y="2340"/>
                          </a:lnTo>
                          <a:lnTo>
                            <a:pt x="985" y="2331"/>
                          </a:lnTo>
                          <a:lnTo>
                            <a:pt x="985" y="2324"/>
                          </a:lnTo>
                          <a:lnTo>
                            <a:pt x="976" y="2309"/>
                          </a:lnTo>
                          <a:lnTo>
                            <a:pt x="969" y="2295"/>
                          </a:lnTo>
                          <a:lnTo>
                            <a:pt x="969" y="2287"/>
                          </a:lnTo>
                          <a:lnTo>
                            <a:pt x="957" y="2278"/>
                          </a:lnTo>
                          <a:lnTo>
                            <a:pt x="951" y="2280"/>
                          </a:lnTo>
                          <a:lnTo>
                            <a:pt x="942" y="2274"/>
                          </a:lnTo>
                          <a:lnTo>
                            <a:pt x="939" y="2283"/>
                          </a:lnTo>
                          <a:lnTo>
                            <a:pt x="942" y="2292"/>
                          </a:lnTo>
                          <a:lnTo>
                            <a:pt x="943" y="2307"/>
                          </a:lnTo>
                          <a:lnTo>
                            <a:pt x="949" y="2315"/>
                          </a:lnTo>
                          <a:lnTo>
                            <a:pt x="962" y="2329"/>
                          </a:lnTo>
                          <a:lnTo>
                            <a:pt x="965" y="2334"/>
                          </a:lnTo>
                          <a:lnTo>
                            <a:pt x="968" y="2335"/>
                          </a:lnTo>
                          <a:lnTo>
                            <a:pt x="969" y="2341"/>
                          </a:lnTo>
                          <a:lnTo>
                            <a:pt x="972" y="2341"/>
                          </a:lnTo>
                          <a:lnTo>
                            <a:pt x="976" y="2354"/>
                          </a:lnTo>
                          <a:lnTo>
                            <a:pt x="982" y="2358"/>
                          </a:lnTo>
                          <a:lnTo>
                            <a:pt x="985" y="2366"/>
                          </a:lnTo>
                          <a:lnTo>
                            <a:pt x="995" y="2375"/>
                          </a:lnTo>
                          <a:lnTo>
                            <a:pt x="1002" y="2394"/>
                          </a:lnTo>
                          <a:lnTo>
                            <a:pt x="1006" y="2401"/>
                          </a:lnTo>
                          <a:lnTo>
                            <a:pt x="1011" y="2410"/>
                          </a:lnTo>
                          <a:lnTo>
                            <a:pt x="1012" y="2420"/>
                          </a:lnTo>
                          <a:lnTo>
                            <a:pt x="1020" y="2421"/>
                          </a:lnTo>
                          <a:lnTo>
                            <a:pt x="1028" y="2429"/>
                          </a:lnTo>
                          <a:lnTo>
                            <a:pt x="1034" y="2438"/>
                          </a:lnTo>
                          <a:lnTo>
                            <a:pt x="1034" y="2441"/>
                          </a:lnTo>
                          <a:lnTo>
                            <a:pt x="1026" y="2447"/>
                          </a:lnTo>
                          <a:lnTo>
                            <a:pt x="1023" y="2447"/>
                          </a:lnTo>
                          <a:lnTo>
                            <a:pt x="1018" y="2437"/>
                          </a:lnTo>
                          <a:lnTo>
                            <a:pt x="1008" y="2426"/>
                          </a:lnTo>
                          <a:lnTo>
                            <a:pt x="995" y="2417"/>
                          </a:lnTo>
                          <a:lnTo>
                            <a:pt x="986" y="2412"/>
                          </a:lnTo>
                          <a:lnTo>
                            <a:pt x="986" y="2398"/>
                          </a:lnTo>
                          <a:lnTo>
                            <a:pt x="985" y="2387"/>
                          </a:lnTo>
                          <a:lnTo>
                            <a:pt x="976" y="2381"/>
                          </a:lnTo>
                          <a:lnTo>
                            <a:pt x="963" y="2374"/>
                          </a:lnTo>
                          <a:lnTo>
                            <a:pt x="962" y="2375"/>
                          </a:lnTo>
                          <a:lnTo>
                            <a:pt x="957" y="2370"/>
                          </a:lnTo>
                          <a:lnTo>
                            <a:pt x="946" y="2366"/>
                          </a:lnTo>
                          <a:lnTo>
                            <a:pt x="937" y="2355"/>
                          </a:lnTo>
                          <a:lnTo>
                            <a:pt x="937" y="2354"/>
                          </a:lnTo>
                          <a:lnTo>
                            <a:pt x="945" y="2354"/>
                          </a:lnTo>
                          <a:lnTo>
                            <a:pt x="951" y="2347"/>
                          </a:lnTo>
                          <a:lnTo>
                            <a:pt x="953" y="2338"/>
                          </a:lnTo>
                          <a:lnTo>
                            <a:pt x="939" y="2324"/>
                          </a:lnTo>
                          <a:lnTo>
                            <a:pt x="928" y="2318"/>
                          </a:lnTo>
                          <a:lnTo>
                            <a:pt x="922" y="2306"/>
                          </a:lnTo>
                          <a:lnTo>
                            <a:pt x="916" y="2294"/>
                          </a:lnTo>
                          <a:lnTo>
                            <a:pt x="908" y="2277"/>
                          </a:lnTo>
                          <a:lnTo>
                            <a:pt x="900" y="2260"/>
                          </a:lnTo>
                          <a:lnTo>
                            <a:pt x="900" y="2260"/>
                          </a:lnTo>
                          <a:lnTo>
                            <a:pt x="897" y="2249"/>
                          </a:lnTo>
                          <a:lnTo>
                            <a:pt x="887" y="2237"/>
                          </a:lnTo>
                          <a:lnTo>
                            <a:pt x="879" y="2235"/>
                          </a:lnTo>
                          <a:lnTo>
                            <a:pt x="877" y="2229"/>
                          </a:lnTo>
                          <a:lnTo>
                            <a:pt x="867" y="2228"/>
                          </a:lnTo>
                          <a:lnTo>
                            <a:pt x="860" y="2223"/>
                          </a:lnTo>
                          <a:lnTo>
                            <a:pt x="845" y="2220"/>
                          </a:lnTo>
                          <a:lnTo>
                            <a:pt x="841" y="2217"/>
                          </a:lnTo>
                          <a:lnTo>
                            <a:pt x="839" y="2206"/>
                          </a:lnTo>
                          <a:lnTo>
                            <a:pt x="822" y="2184"/>
                          </a:lnTo>
                          <a:lnTo>
                            <a:pt x="808" y="2154"/>
                          </a:lnTo>
                          <a:lnTo>
                            <a:pt x="808" y="2149"/>
                          </a:lnTo>
                          <a:lnTo>
                            <a:pt x="801" y="2141"/>
                          </a:lnTo>
                          <a:lnTo>
                            <a:pt x="787" y="2123"/>
                          </a:lnTo>
                          <a:lnTo>
                            <a:pt x="785" y="2106"/>
                          </a:lnTo>
                          <a:lnTo>
                            <a:pt x="776" y="2094"/>
                          </a:lnTo>
                          <a:lnTo>
                            <a:pt x="779" y="2074"/>
                          </a:lnTo>
                          <a:lnTo>
                            <a:pt x="779" y="2055"/>
                          </a:lnTo>
                          <a:lnTo>
                            <a:pt x="773" y="2037"/>
                          </a:lnTo>
                          <a:lnTo>
                            <a:pt x="781" y="2015"/>
                          </a:lnTo>
                          <a:lnTo>
                            <a:pt x="782" y="1992"/>
                          </a:lnTo>
                          <a:lnTo>
                            <a:pt x="784" y="1971"/>
                          </a:lnTo>
                          <a:lnTo>
                            <a:pt x="781" y="1937"/>
                          </a:lnTo>
                          <a:lnTo>
                            <a:pt x="776" y="1915"/>
                          </a:lnTo>
                          <a:lnTo>
                            <a:pt x="770" y="1905"/>
                          </a:lnTo>
                          <a:lnTo>
                            <a:pt x="773" y="1899"/>
                          </a:lnTo>
                          <a:lnTo>
                            <a:pt x="798" y="1908"/>
                          </a:lnTo>
                          <a:lnTo>
                            <a:pt x="807" y="1932"/>
                          </a:lnTo>
                          <a:lnTo>
                            <a:pt x="811" y="1925"/>
                          </a:lnTo>
                          <a:lnTo>
                            <a:pt x="808" y="1905"/>
                          </a:lnTo>
                          <a:lnTo>
                            <a:pt x="802" y="1883"/>
                          </a:lnTo>
                          <a:lnTo>
                            <a:pt x="801" y="1883"/>
                          </a:lnTo>
                          <a:lnTo>
                            <a:pt x="767" y="1857"/>
                          </a:lnTo>
                          <a:lnTo>
                            <a:pt x="755" y="1845"/>
                          </a:lnTo>
                          <a:lnTo>
                            <a:pt x="724" y="1834"/>
                          </a:lnTo>
                          <a:lnTo>
                            <a:pt x="713" y="1809"/>
                          </a:lnTo>
                          <a:lnTo>
                            <a:pt x="716" y="1792"/>
                          </a:lnTo>
                          <a:lnTo>
                            <a:pt x="695" y="1780"/>
                          </a:lnTo>
                          <a:lnTo>
                            <a:pt x="692" y="1757"/>
                          </a:lnTo>
                          <a:lnTo>
                            <a:pt x="670" y="1736"/>
                          </a:lnTo>
                          <a:lnTo>
                            <a:pt x="670" y="1720"/>
                          </a:lnTo>
                          <a:lnTo>
                            <a:pt x="661" y="1709"/>
                          </a:lnTo>
                          <a:lnTo>
                            <a:pt x="646" y="1700"/>
                          </a:lnTo>
                          <a:lnTo>
                            <a:pt x="641" y="1673"/>
                          </a:lnTo>
                          <a:lnTo>
                            <a:pt x="618" y="1648"/>
                          </a:lnTo>
                          <a:lnTo>
                            <a:pt x="609" y="1617"/>
                          </a:lnTo>
                          <a:lnTo>
                            <a:pt x="592" y="1616"/>
                          </a:lnTo>
                          <a:lnTo>
                            <a:pt x="566" y="1614"/>
                          </a:lnTo>
                          <a:lnTo>
                            <a:pt x="545" y="1605"/>
                          </a:lnTo>
                          <a:lnTo>
                            <a:pt x="509" y="1570"/>
                          </a:lnTo>
                          <a:lnTo>
                            <a:pt x="492" y="1563"/>
                          </a:lnTo>
                          <a:lnTo>
                            <a:pt x="463" y="1551"/>
                          </a:lnTo>
                          <a:lnTo>
                            <a:pt x="439" y="1554"/>
                          </a:lnTo>
                          <a:lnTo>
                            <a:pt x="405" y="1539"/>
                          </a:lnTo>
                          <a:lnTo>
                            <a:pt x="385" y="1523"/>
                          </a:lnTo>
                          <a:lnTo>
                            <a:pt x="367" y="1531"/>
                          </a:lnTo>
                          <a:lnTo>
                            <a:pt x="370" y="1556"/>
                          </a:lnTo>
                          <a:lnTo>
                            <a:pt x="360" y="1557"/>
                          </a:lnTo>
                          <a:lnTo>
                            <a:pt x="341" y="1565"/>
                          </a:lnTo>
                          <a:lnTo>
                            <a:pt x="325" y="1576"/>
                          </a:lnTo>
                          <a:lnTo>
                            <a:pt x="305" y="1583"/>
                          </a:lnTo>
                          <a:lnTo>
                            <a:pt x="304" y="1563"/>
                          </a:lnTo>
                          <a:lnTo>
                            <a:pt x="311" y="1530"/>
                          </a:lnTo>
                          <a:lnTo>
                            <a:pt x="330" y="1519"/>
                          </a:lnTo>
                          <a:lnTo>
                            <a:pt x="325" y="1510"/>
                          </a:lnTo>
                          <a:lnTo>
                            <a:pt x="302" y="1530"/>
                          </a:lnTo>
                          <a:lnTo>
                            <a:pt x="291" y="1553"/>
                          </a:lnTo>
                          <a:lnTo>
                            <a:pt x="267" y="1577"/>
                          </a:lnTo>
                          <a:lnTo>
                            <a:pt x="279" y="1593"/>
                          </a:lnTo>
                          <a:lnTo>
                            <a:pt x="262" y="1617"/>
                          </a:lnTo>
                          <a:lnTo>
                            <a:pt x="244" y="1630"/>
                          </a:lnTo>
                          <a:lnTo>
                            <a:pt x="227" y="1640"/>
                          </a:lnTo>
                          <a:lnTo>
                            <a:pt x="222" y="1654"/>
                          </a:lnTo>
                          <a:lnTo>
                            <a:pt x="196" y="1670"/>
                          </a:lnTo>
                          <a:lnTo>
                            <a:pt x="190" y="1685"/>
                          </a:lnTo>
                          <a:lnTo>
                            <a:pt x="170" y="1697"/>
                          </a:lnTo>
                          <a:lnTo>
                            <a:pt x="158" y="1696"/>
                          </a:lnTo>
                          <a:lnTo>
                            <a:pt x="143" y="1703"/>
                          </a:lnTo>
                          <a:lnTo>
                            <a:pt x="124" y="1714"/>
                          </a:lnTo>
                          <a:lnTo>
                            <a:pt x="110" y="1725"/>
                          </a:lnTo>
                          <a:lnTo>
                            <a:pt x="81" y="1733"/>
                          </a:lnTo>
                          <a:lnTo>
                            <a:pt x="78" y="1728"/>
                          </a:lnTo>
                          <a:lnTo>
                            <a:pt x="97" y="1714"/>
                          </a:lnTo>
                          <a:lnTo>
                            <a:pt x="114" y="1705"/>
                          </a:lnTo>
                          <a:lnTo>
                            <a:pt x="132" y="1688"/>
                          </a:lnTo>
                          <a:lnTo>
                            <a:pt x="153" y="1685"/>
                          </a:lnTo>
                          <a:lnTo>
                            <a:pt x="163" y="1671"/>
                          </a:lnTo>
                          <a:lnTo>
                            <a:pt x="186" y="1653"/>
                          </a:lnTo>
                          <a:lnTo>
                            <a:pt x="190" y="1646"/>
                          </a:lnTo>
                          <a:lnTo>
                            <a:pt x="202" y="1636"/>
                          </a:lnTo>
                          <a:lnTo>
                            <a:pt x="206" y="1611"/>
                          </a:lnTo>
                          <a:lnTo>
                            <a:pt x="215" y="1591"/>
                          </a:lnTo>
                          <a:lnTo>
                            <a:pt x="195" y="1602"/>
                          </a:lnTo>
                          <a:lnTo>
                            <a:pt x="189" y="1596"/>
                          </a:lnTo>
                          <a:lnTo>
                            <a:pt x="179" y="1608"/>
                          </a:lnTo>
                          <a:lnTo>
                            <a:pt x="169" y="1591"/>
                          </a:lnTo>
                          <a:lnTo>
                            <a:pt x="164" y="1603"/>
                          </a:lnTo>
                          <a:lnTo>
                            <a:pt x="158" y="1586"/>
                          </a:lnTo>
                          <a:lnTo>
                            <a:pt x="140" y="1599"/>
                          </a:lnTo>
                          <a:lnTo>
                            <a:pt x="129" y="1599"/>
                          </a:lnTo>
                          <a:lnTo>
                            <a:pt x="129" y="1580"/>
                          </a:lnTo>
                          <a:lnTo>
                            <a:pt x="132" y="1567"/>
                          </a:lnTo>
                          <a:lnTo>
                            <a:pt x="120" y="1556"/>
                          </a:lnTo>
                          <a:lnTo>
                            <a:pt x="98" y="1562"/>
                          </a:lnTo>
                          <a:lnTo>
                            <a:pt x="83" y="1545"/>
                          </a:lnTo>
                          <a:lnTo>
                            <a:pt x="72" y="1537"/>
                          </a:lnTo>
                          <a:lnTo>
                            <a:pt x="72" y="1517"/>
                          </a:lnTo>
                          <a:lnTo>
                            <a:pt x="58" y="1502"/>
                          </a:lnTo>
                          <a:lnTo>
                            <a:pt x="64" y="1480"/>
                          </a:lnTo>
                          <a:lnTo>
                            <a:pt x="78" y="1460"/>
                          </a:lnTo>
                          <a:lnTo>
                            <a:pt x="84" y="1440"/>
                          </a:lnTo>
                          <a:lnTo>
                            <a:pt x="98" y="1437"/>
                          </a:lnTo>
                          <a:lnTo>
                            <a:pt x="110" y="1444"/>
                          </a:lnTo>
                          <a:lnTo>
                            <a:pt x="124" y="1425"/>
                          </a:lnTo>
                          <a:lnTo>
                            <a:pt x="137" y="1428"/>
                          </a:lnTo>
                          <a:lnTo>
                            <a:pt x="150" y="1417"/>
                          </a:lnTo>
                          <a:lnTo>
                            <a:pt x="147" y="1399"/>
                          </a:lnTo>
                          <a:lnTo>
                            <a:pt x="138" y="1391"/>
                          </a:lnTo>
                          <a:lnTo>
                            <a:pt x="150" y="1376"/>
                          </a:lnTo>
                          <a:lnTo>
                            <a:pt x="140" y="1377"/>
                          </a:lnTo>
                          <a:lnTo>
                            <a:pt x="121" y="1385"/>
                          </a:lnTo>
                          <a:lnTo>
                            <a:pt x="117" y="1394"/>
                          </a:lnTo>
                          <a:lnTo>
                            <a:pt x="103" y="1385"/>
                          </a:lnTo>
                          <a:lnTo>
                            <a:pt x="78" y="1390"/>
                          </a:lnTo>
                          <a:lnTo>
                            <a:pt x="52" y="1381"/>
                          </a:lnTo>
                          <a:lnTo>
                            <a:pt x="46" y="1364"/>
                          </a:lnTo>
                          <a:lnTo>
                            <a:pt x="25" y="1341"/>
                          </a:lnTo>
                          <a:lnTo>
                            <a:pt x="48" y="1322"/>
                          </a:lnTo>
                          <a:lnTo>
                            <a:pt x="86" y="1302"/>
                          </a:lnTo>
                          <a:lnTo>
                            <a:pt x="101" y="1302"/>
                          </a:lnTo>
                          <a:lnTo>
                            <a:pt x="98" y="1322"/>
                          </a:lnTo>
                          <a:lnTo>
                            <a:pt x="135" y="1321"/>
                          </a:lnTo>
                          <a:lnTo>
                            <a:pt x="121" y="1294"/>
                          </a:lnTo>
                          <a:lnTo>
                            <a:pt x="100" y="1278"/>
                          </a:lnTo>
                          <a:lnTo>
                            <a:pt x="87" y="1256"/>
                          </a:lnTo>
                          <a:lnTo>
                            <a:pt x="71" y="1236"/>
                          </a:lnTo>
                          <a:lnTo>
                            <a:pt x="48" y="1221"/>
                          </a:lnTo>
                          <a:lnTo>
                            <a:pt x="57" y="1196"/>
                          </a:lnTo>
                          <a:lnTo>
                            <a:pt x="87" y="1194"/>
                          </a:lnTo>
                          <a:lnTo>
                            <a:pt x="109" y="1173"/>
                          </a:lnTo>
                          <a:lnTo>
                            <a:pt x="114" y="1148"/>
                          </a:lnTo>
                          <a:lnTo>
                            <a:pt x="130" y="1125"/>
                          </a:lnTo>
                          <a:lnTo>
                            <a:pt x="147" y="1119"/>
                          </a:lnTo>
                          <a:lnTo>
                            <a:pt x="179" y="1096"/>
                          </a:lnTo>
                          <a:lnTo>
                            <a:pt x="196" y="1099"/>
                          </a:lnTo>
                          <a:lnTo>
                            <a:pt x="222" y="1072"/>
                          </a:lnTo>
                          <a:lnTo>
                            <a:pt x="248" y="1082"/>
                          </a:lnTo>
                          <a:lnTo>
                            <a:pt x="261" y="1105"/>
                          </a:lnTo>
                          <a:lnTo>
                            <a:pt x="268" y="1096"/>
                          </a:lnTo>
                          <a:lnTo>
                            <a:pt x="298" y="1099"/>
                          </a:lnTo>
                          <a:lnTo>
                            <a:pt x="296" y="1111"/>
                          </a:lnTo>
                          <a:lnTo>
                            <a:pt x="322" y="1119"/>
                          </a:lnTo>
                          <a:lnTo>
                            <a:pt x="341" y="1115"/>
                          </a:lnTo>
                          <a:lnTo>
                            <a:pt x="376" y="1131"/>
                          </a:lnTo>
                          <a:lnTo>
                            <a:pt x="410" y="1136"/>
                          </a:lnTo>
                          <a:lnTo>
                            <a:pt x="423" y="1142"/>
                          </a:lnTo>
                          <a:lnTo>
                            <a:pt x="446" y="1135"/>
                          </a:lnTo>
                          <a:lnTo>
                            <a:pt x="472" y="1148"/>
                          </a:lnTo>
                          <a:lnTo>
                            <a:pt x="491" y="1156"/>
                          </a:lnTo>
                          <a:lnTo>
                            <a:pt x="523" y="1168"/>
                          </a:lnTo>
                          <a:lnTo>
                            <a:pt x="549" y="1191"/>
                          </a:lnTo>
                          <a:lnTo>
                            <a:pt x="568" y="1196"/>
                          </a:lnTo>
                          <a:lnTo>
                            <a:pt x="583" y="1176"/>
                          </a:lnTo>
                          <a:lnTo>
                            <a:pt x="603" y="1161"/>
                          </a:lnTo>
                          <a:lnTo>
                            <a:pt x="629" y="1167"/>
                          </a:lnTo>
                          <a:lnTo>
                            <a:pt x="655" y="1144"/>
                          </a:lnTo>
                          <a:lnTo>
                            <a:pt x="683" y="1131"/>
                          </a:lnTo>
                          <a:lnTo>
                            <a:pt x="695" y="1153"/>
                          </a:lnTo>
                          <a:lnTo>
                            <a:pt x="707" y="1141"/>
                          </a:lnTo>
                          <a:lnTo>
                            <a:pt x="712" y="1118"/>
                          </a:lnTo>
                          <a:lnTo>
                            <a:pt x="724" y="1122"/>
                          </a:lnTo>
                          <a:lnTo>
                            <a:pt x="753" y="1167"/>
                          </a:lnTo>
                          <a:lnTo>
                            <a:pt x="776" y="1133"/>
                          </a:lnTo>
                          <a:lnTo>
                            <a:pt x="778" y="1171"/>
                          </a:lnTo>
                          <a:lnTo>
                            <a:pt x="799" y="1164"/>
                          </a:lnTo>
                          <a:lnTo>
                            <a:pt x="805" y="1148"/>
                          </a:lnTo>
                          <a:lnTo>
                            <a:pt x="827" y="1151"/>
                          </a:lnTo>
                          <a:lnTo>
                            <a:pt x="853" y="1173"/>
                          </a:lnTo>
                          <a:lnTo>
                            <a:pt x="893" y="1190"/>
                          </a:lnTo>
                          <a:lnTo>
                            <a:pt x="916" y="1199"/>
                          </a:lnTo>
                          <a:lnTo>
                            <a:pt x="933" y="1196"/>
                          </a:lnTo>
                          <a:lnTo>
                            <a:pt x="957" y="1219"/>
                          </a:lnTo>
                          <a:lnTo>
                            <a:pt x="933" y="1242"/>
                          </a:lnTo>
                          <a:lnTo>
                            <a:pt x="963" y="1251"/>
                          </a:lnTo>
                          <a:lnTo>
                            <a:pt x="1009" y="1247"/>
                          </a:lnTo>
                          <a:lnTo>
                            <a:pt x="1025" y="1239"/>
                          </a:lnTo>
                          <a:lnTo>
                            <a:pt x="1043" y="1265"/>
                          </a:lnTo>
                          <a:lnTo>
                            <a:pt x="1061" y="1244"/>
                          </a:lnTo>
                          <a:lnTo>
                            <a:pt x="1045" y="1224"/>
                          </a:lnTo>
                          <a:lnTo>
                            <a:pt x="1055" y="1207"/>
                          </a:lnTo>
                          <a:lnTo>
                            <a:pt x="1077" y="1205"/>
                          </a:lnTo>
                          <a:lnTo>
                            <a:pt x="1091" y="1201"/>
                          </a:lnTo>
                          <a:lnTo>
                            <a:pt x="1104" y="1211"/>
                          </a:lnTo>
                          <a:lnTo>
                            <a:pt x="1121" y="1238"/>
                          </a:lnTo>
                          <a:lnTo>
                            <a:pt x="1140" y="1233"/>
                          </a:lnTo>
                          <a:lnTo>
                            <a:pt x="1170" y="1254"/>
                          </a:lnTo>
                          <a:lnTo>
                            <a:pt x="1198" y="1247"/>
                          </a:lnTo>
                          <a:lnTo>
                            <a:pt x="1222" y="1248"/>
                          </a:lnTo>
                          <a:lnTo>
                            <a:pt x="1221" y="1219"/>
                          </a:lnTo>
                          <a:lnTo>
                            <a:pt x="1236" y="1211"/>
                          </a:lnTo>
                          <a:lnTo>
                            <a:pt x="1262" y="1227"/>
                          </a:lnTo>
                          <a:lnTo>
                            <a:pt x="1262" y="1270"/>
                          </a:lnTo>
                          <a:lnTo>
                            <a:pt x="1273" y="1234"/>
                          </a:lnTo>
                          <a:lnTo>
                            <a:pt x="1287" y="1234"/>
                          </a:lnTo>
                          <a:lnTo>
                            <a:pt x="1295" y="1187"/>
                          </a:lnTo>
                          <a:lnTo>
                            <a:pt x="1276" y="1158"/>
                          </a:lnTo>
                          <a:lnTo>
                            <a:pt x="1256" y="1138"/>
                          </a:lnTo>
                          <a:lnTo>
                            <a:pt x="1258" y="1079"/>
                          </a:lnTo>
                          <a:lnTo>
                            <a:pt x="1278" y="1041"/>
                          </a:lnTo>
                          <a:lnTo>
                            <a:pt x="1301" y="1048"/>
                          </a:lnTo>
                          <a:lnTo>
                            <a:pt x="1318" y="1073"/>
                          </a:lnTo>
                          <a:lnTo>
                            <a:pt x="1342" y="1131"/>
                          </a:lnTo>
                          <a:lnTo>
                            <a:pt x="1327" y="1156"/>
                          </a:lnTo>
                          <a:lnTo>
                            <a:pt x="1357" y="1167"/>
                          </a:lnTo>
                          <a:lnTo>
                            <a:pt x="1357" y="1216"/>
                          </a:lnTo>
                          <a:lnTo>
                            <a:pt x="1380" y="1179"/>
                          </a:lnTo>
                          <a:lnTo>
                            <a:pt x="1402" y="1210"/>
                          </a:lnTo>
                          <a:lnTo>
                            <a:pt x="1396" y="1244"/>
                          </a:lnTo>
                          <a:lnTo>
                            <a:pt x="1413" y="1274"/>
                          </a:lnTo>
                          <a:lnTo>
                            <a:pt x="1431" y="1242"/>
                          </a:lnTo>
                          <a:lnTo>
                            <a:pt x="1443" y="1201"/>
                          </a:lnTo>
                          <a:lnTo>
                            <a:pt x="1445" y="1148"/>
                          </a:lnTo>
                          <a:lnTo>
                            <a:pt x="1469" y="1151"/>
                          </a:lnTo>
                          <a:lnTo>
                            <a:pt x="1494" y="1159"/>
                          </a:lnTo>
                          <a:lnTo>
                            <a:pt x="1517" y="1184"/>
                          </a:lnTo>
                          <a:lnTo>
                            <a:pt x="1518" y="1207"/>
                          </a:lnTo>
                          <a:lnTo>
                            <a:pt x="1506" y="1231"/>
                          </a:lnTo>
                          <a:lnTo>
                            <a:pt x="1518" y="1256"/>
                          </a:lnTo>
                          <a:lnTo>
                            <a:pt x="1515" y="1278"/>
                          </a:lnTo>
                          <a:lnTo>
                            <a:pt x="1482" y="1308"/>
                          </a:lnTo>
                          <a:lnTo>
                            <a:pt x="1459" y="1316"/>
                          </a:lnTo>
                          <a:lnTo>
                            <a:pt x="1440" y="1302"/>
                          </a:lnTo>
                          <a:lnTo>
                            <a:pt x="1436" y="1324"/>
                          </a:lnTo>
                          <a:lnTo>
                            <a:pt x="1419" y="1359"/>
                          </a:lnTo>
                          <a:lnTo>
                            <a:pt x="1414" y="1377"/>
                          </a:lnTo>
                          <a:lnTo>
                            <a:pt x="1394" y="1404"/>
                          </a:lnTo>
                          <a:lnTo>
                            <a:pt x="1368" y="1407"/>
                          </a:lnTo>
                          <a:lnTo>
                            <a:pt x="1356" y="1424"/>
                          </a:lnTo>
                          <a:lnTo>
                            <a:pt x="1354" y="1448"/>
                          </a:lnTo>
                          <a:lnTo>
                            <a:pt x="1334" y="1453"/>
                          </a:lnTo>
                          <a:lnTo>
                            <a:pt x="1313" y="1482"/>
                          </a:lnTo>
                          <a:lnTo>
                            <a:pt x="1295" y="1523"/>
                          </a:lnTo>
                          <a:lnTo>
                            <a:pt x="1288" y="1551"/>
                          </a:lnTo>
                          <a:lnTo>
                            <a:pt x="1287" y="1590"/>
                          </a:lnTo>
                          <a:lnTo>
                            <a:pt x="1311" y="1596"/>
                          </a:lnTo>
                          <a:lnTo>
                            <a:pt x="1321" y="1626"/>
                          </a:lnTo>
                          <a:lnTo>
                            <a:pt x="1328" y="1651"/>
                          </a:lnTo>
                          <a:lnTo>
                            <a:pt x="1351" y="1645"/>
                          </a:lnTo>
                          <a:lnTo>
                            <a:pt x="1384" y="1659"/>
                          </a:lnTo>
                          <a:lnTo>
                            <a:pt x="1400" y="1670"/>
                          </a:lnTo>
                          <a:lnTo>
                            <a:pt x="1414" y="1685"/>
                          </a:lnTo>
                          <a:lnTo>
                            <a:pt x="1436" y="1693"/>
                          </a:lnTo>
                          <a:lnTo>
                            <a:pt x="1453" y="1706"/>
                          </a:lnTo>
                          <a:lnTo>
                            <a:pt x="1482" y="1708"/>
                          </a:lnTo>
                          <a:lnTo>
                            <a:pt x="1500" y="1711"/>
                          </a:lnTo>
                          <a:lnTo>
                            <a:pt x="1497" y="1736"/>
                          </a:lnTo>
                          <a:lnTo>
                            <a:pt x="1503" y="1766"/>
                          </a:lnTo>
                          <a:lnTo>
                            <a:pt x="1515" y="1797"/>
                          </a:lnTo>
                          <a:lnTo>
                            <a:pt x="1542" y="1823"/>
                          </a:lnTo>
                          <a:lnTo>
                            <a:pt x="1554" y="1814"/>
                          </a:lnTo>
                          <a:lnTo>
                            <a:pt x="1563" y="1786"/>
                          </a:lnTo>
                          <a:lnTo>
                            <a:pt x="1554" y="1740"/>
                          </a:lnTo>
                          <a:lnTo>
                            <a:pt x="1543" y="1725"/>
                          </a:lnTo>
                          <a:lnTo>
                            <a:pt x="1571" y="1711"/>
                          </a:lnTo>
                          <a:lnTo>
                            <a:pt x="1589" y="1689"/>
                          </a:lnTo>
                          <a:lnTo>
                            <a:pt x="1598" y="1668"/>
                          </a:lnTo>
                          <a:lnTo>
                            <a:pt x="1598" y="1646"/>
                          </a:lnTo>
                          <a:lnTo>
                            <a:pt x="1586" y="1620"/>
                          </a:lnTo>
                          <a:lnTo>
                            <a:pt x="1565" y="1596"/>
                          </a:lnTo>
                          <a:lnTo>
                            <a:pt x="1586" y="1560"/>
                          </a:lnTo>
                          <a:lnTo>
                            <a:pt x="1578" y="1528"/>
                          </a:lnTo>
                          <a:lnTo>
                            <a:pt x="1572" y="1471"/>
                          </a:lnTo>
                          <a:lnTo>
                            <a:pt x="1584" y="1464"/>
                          </a:lnTo>
                          <a:lnTo>
                            <a:pt x="1614" y="1473"/>
                          </a:lnTo>
                          <a:lnTo>
                            <a:pt x="1630" y="1477"/>
                          </a:lnTo>
                          <a:lnTo>
                            <a:pt x="1646" y="1467"/>
                          </a:lnTo>
                          <a:lnTo>
                            <a:pt x="1661" y="1480"/>
                          </a:lnTo>
                          <a:lnTo>
                            <a:pt x="1683" y="1500"/>
                          </a:lnTo>
                          <a:lnTo>
                            <a:pt x="1687" y="1514"/>
                          </a:lnTo>
                          <a:lnTo>
                            <a:pt x="1718" y="1517"/>
                          </a:lnTo>
                          <a:lnTo>
                            <a:pt x="1718" y="1547"/>
                          </a:lnTo>
                          <a:lnTo>
                            <a:pt x="1724" y="1590"/>
                          </a:lnTo>
                          <a:lnTo>
                            <a:pt x="1739" y="1596"/>
                          </a:lnTo>
                          <a:lnTo>
                            <a:pt x="1752" y="1614"/>
                          </a:lnTo>
                          <a:lnTo>
                            <a:pt x="1776" y="1596"/>
                          </a:lnTo>
                          <a:lnTo>
                            <a:pt x="1793" y="1559"/>
                          </a:lnTo>
                          <a:lnTo>
                            <a:pt x="1805" y="1543"/>
                          </a:lnTo>
                          <a:lnTo>
                            <a:pt x="1818" y="1574"/>
                          </a:lnTo>
                          <a:lnTo>
                            <a:pt x="1841" y="1616"/>
                          </a:lnTo>
                          <a:lnTo>
                            <a:pt x="1859" y="1654"/>
                          </a:lnTo>
                          <a:lnTo>
                            <a:pt x="1853" y="1674"/>
                          </a:lnTo>
                          <a:lnTo>
                            <a:pt x="1876" y="1691"/>
                          </a:lnTo>
                          <a:lnTo>
                            <a:pt x="1891" y="1709"/>
                          </a:lnTo>
                          <a:lnTo>
                            <a:pt x="1919" y="1717"/>
                          </a:lnTo>
                          <a:lnTo>
                            <a:pt x="1930" y="1726"/>
                          </a:lnTo>
                          <a:lnTo>
                            <a:pt x="1936" y="1751"/>
                          </a:lnTo>
                          <a:lnTo>
                            <a:pt x="1950" y="1756"/>
                          </a:lnTo>
                          <a:lnTo>
                            <a:pt x="1956" y="1766"/>
                          </a:lnTo>
                          <a:lnTo>
                            <a:pt x="1957" y="1799"/>
                          </a:lnTo>
                          <a:lnTo>
                            <a:pt x="1945" y="1808"/>
                          </a:lnTo>
                          <a:lnTo>
                            <a:pt x="1933" y="1819"/>
                          </a:lnTo>
                          <a:lnTo>
                            <a:pt x="1905" y="1828"/>
                          </a:lnTo>
                          <a:lnTo>
                            <a:pt x="1882" y="1851"/>
                          </a:lnTo>
                          <a:lnTo>
                            <a:pt x="1854" y="1854"/>
                          </a:lnTo>
                          <a:lnTo>
                            <a:pt x="1818" y="1849"/>
                          </a:lnTo>
                          <a:lnTo>
                            <a:pt x="1792" y="1849"/>
                          </a:lnTo>
                          <a:lnTo>
                            <a:pt x="1773" y="1851"/>
                          </a:lnTo>
                          <a:lnTo>
                            <a:pt x="1759" y="1869"/>
                          </a:lnTo>
                          <a:lnTo>
                            <a:pt x="1736" y="1882"/>
                          </a:lnTo>
                          <a:lnTo>
                            <a:pt x="1712" y="1915"/>
                          </a:lnTo>
                          <a:lnTo>
                            <a:pt x="1692" y="1939"/>
                          </a:lnTo>
                          <a:lnTo>
                            <a:pt x="1707" y="1935"/>
                          </a:lnTo>
                          <a:lnTo>
                            <a:pt x="1735" y="1902"/>
                          </a:lnTo>
                          <a:lnTo>
                            <a:pt x="1770" y="1880"/>
                          </a:lnTo>
                          <a:lnTo>
                            <a:pt x="1796" y="1877"/>
                          </a:lnTo>
                          <a:lnTo>
                            <a:pt x="1811" y="1889"/>
                          </a:lnTo>
                          <a:lnTo>
                            <a:pt x="1795" y="1908"/>
                          </a:lnTo>
                          <a:lnTo>
                            <a:pt x="1801" y="1934"/>
                          </a:lnTo>
                          <a:lnTo>
                            <a:pt x="1807" y="1954"/>
                          </a:lnTo>
                          <a:lnTo>
                            <a:pt x="1828" y="1966"/>
                          </a:lnTo>
                          <a:lnTo>
                            <a:pt x="1857" y="1962"/>
                          </a:lnTo>
                          <a:lnTo>
                            <a:pt x="1874" y="1934"/>
                          </a:lnTo>
                          <a:lnTo>
                            <a:pt x="1876" y="1952"/>
                          </a:lnTo>
                          <a:close/>
                          <a:moveTo>
                            <a:pt x="1226" y="1135"/>
                          </a:moveTo>
                          <a:lnTo>
                            <a:pt x="1215" y="1156"/>
                          </a:lnTo>
                          <a:lnTo>
                            <a:pt x="1199" y="1171"/>
                          </a:lnTo>
                          <a:lnTo>
                            <a:pt x="1222" y="1193"/>
                          </a:lnTo>
                          <a:lnTo>
                            <a:pt x="1236" y="1188"/>
                          </a:lnTo>
                          <a:lnTo>
                            <a:pt x="1259" y="1202"/>
                          </a:lnTo>
                          <a:lnTo>
                            <a:pt x="1270" y="1185"/>
                          </a:lnTo>
                          <a:lnTo>
                            <a:pt x="1259" y="1167"/>
                          </a:lnTo>
                          <a:lnTo>
                            <a:pt x="1255" y="1158"/>
                          </a:lnTo>
                          <a:lnTo>
                            <a:pt x="1244" y="1148"/>
                          </a:lnTo>
                          <a:lnTo>
                            <a:pt x="1226" y="1135"/>
                          </a:lnTo>
                          <a:close/>
                          <a:moveTo>
                            <a:pt x="1471" y="1467"/>
                          </a:moveTo>
                          <a:lnTo>
                            <a:pt x="1474" y="1476"/>
                          </a:lnTo>
                          <a:lnTo>
                            <a:pt x="1486" y="1477"/>
                          </a:lnTo>
                          <a:lnTo>
                            <a:pt x="1506" y="1457"/>
                          </a:lnTo>
                          <a:lnTo>
                            <a:pt x="1508" y="1450"/>
                          </a:lnTo>
                          <a:lnTo>
                            <a:pt x="1483" y="1450"/>
                          </a:lnTo>
                          <a:lnTo>
                            <a:pt x="1471" y="1467"/>
                          </a:lnTo>
                          <a:close/>
                          <a:moveTo>
                            <a:pt x="1546" y="1496"/>
                          </a:moveTo>
                          <a:lnTo>
                            <a:pt x="1552" y="1477"/>
                          </a:lnTo>
                          <a:lnTo>
                            <a:pt x="1548" y="1470"/>
                          </a:lnTo>
                          <a:lnTo>
                            <a:pt x="1542" y="1470"/>
                          </a:lnTo>
                          <a:lnTo>
                            <a:pt x="1534" y="1480"/>
                          </a:lnTo>
                          <a:lnTo>
                            <a:pt x="1534" y="1482"/>
                          </a:lnTo>
                          <a:lnTo>
                            <a:pt x="1538" y="1493"/>
                          </a:lnTo>
                          <a:lnTo>
                            <a:pt x="1546" y="1496"/>
                          </a:lnTo>
                          <a:close/>
                          <a:moveTo>
                            <a:pt x="1245" y="950"/>
                          </a:moveTo>
                          <a:lnTo>
                            <a:pt x="1241" y="932"/>
                          </a:lnTo>
                          <a:lnTo>
                            <a:pt x="1210" y="939"/>
                          </a:lnTo>
                          <a:lnTo>
                            <a:pt x="1189" y="927"/>
                          </a:lnTo>
                          <a:lnTo>
                            <a:pt x="1169" y="956"/>
                          </a:lnTo>
                          <a:lnTo>
                            <a:pt x="1189" y="995"/>
                          </a:lnTo>
                          <a:lnTo>
                            <a:pt x="1153" y="989"/>
                          </a:lnTo>
                          <a:lnTo>
                            <a:pt x="1152" y="1007"/>
                          </a:lnTo>
                          <a:lnTo>
                            <a:pt x="1195" y="1050"/>
                          </a:lnTo>
                          <a:lnTo>
                            <a:pt x="1207" y="1070"/>
                          </a:lnTo>
                          <a:lnTo>
                            <a:pt x="1224" y="1075"/>
                          </a:lnTo>
                          <a:lnTo>
                            <a:pt x="1252" y="1055"/>
                          </a:lnTo>
                          <a:lnTo>
                            <a:pt x="1255" y="1004"/>
                          </a:lnTo>
                          <a:lnTo>
                            <a:pt x="1229" y="979"/>
                          </a:lnTo>
                          <a:lnTo>
                            <a:pt x="1245" y="950"/>
                          </a:lnTo>
                          <a:close/>
                          <a:moveTo>
                            <a:pt x="1178" y="1141"/>
                          </a:moveTo>
                          <a:lnTo>
                            <a:pt x="1147" y="1116"/>
                          </a:lnTo>
                          <a:lnTo>
                            <a:pt x="1118" y="1090"/>
                          </a:lnTo>
                          <a:lnTo>
                            <a:pt x="1114" y="1052"/>
                          </a:lnTo>
                          <a:lnTo>
                            <a:pt x="1103" y="998"/>
                          </a:lnTo>
                          <a:lnTo>
                            <a:pt x="1083" y="973"/>
                          </a:lnTo>
                          <a:lnTo>
                            <a:pt x="1066" y="964"/>
                          </a:lnTo>
                          <a:lnTo>
                            <a:pt x="1051" y="973"/>
                          </a:lnTo>
                          <a:lnTo>
                            <a:pt x="1063" y="1032"/>
                          </a:lnTo>
                          <a:lnTo>
                            <a:pt x="1055" y="1055"/>
                          </a:lnTo>
                          <a:lnTo>
                            <a:pt x="1040" y="999"/>
                          </a:lnTo>
                          <a:lnTo>
                            <a:pt x="1025" y="981"/>
                          </a:lnTo>
                          <a:lnTo>
                            <a:pt x="1006" y="1010"/>
                          </a:lnTo>
                          <a:lnTo>
                            <a:pt x="982" y="981"/>
                          </a:lnTo>
                          <a:lnTo>
                            <a:pt x="943" y="998"/>
                          </a:lnTo>
                          <a:lnTo>
                            <a:pt x="953" y="972"/>
                          </a:lnTo>
                          <a:lnTo>
                            <a:pt x="934" y="959"/>
                          </a:lnTo>
                          <a:lnTo>
                            <a:pt x="888" y="995"/>
                          </a:lnTo>
                          <a:lnTo>
                            <a:pt x="876" y="1018"/>
                          </a:lnTo>
                          <a:lnTo>
                            <a:pt x="862" y="1059"/>
                          </a:lnTo>
                          <a:lnTo>
                            <a:pt x="891" y="1075"/>
                          </a:lnTo>
                          <a:lnTo>
                            <a:pt x="919" y="1073"/>
                          </a:lnTo>
                          <a:lnTo>
                            <a:pt x="879" y="1095"/>
                          </a:lnTo>
                          <a:lnTo>
                            <a:pt x="888" y="1115"/>
                          </a:lnTo>
                          <a:lnTo>
                            <a:pt x="913" y="1115"/>
                          </a:lnTo>
                          <a:lnTo>
                            <a:pt x="949" y="1111"/>
                          </a:lnTo>
                          <a:lnTo>
                            <a:pt x="982" y="1122"/>
                          </a:lnTo>
                          <a:lnTo>
                            <a:pt x="960" y="1131"/>
                          </a:lnTo>
                          <a:lnTo>
                            <a:pt x="936" y="1130"/>
                          </a:lnTo>
                          <a:lnTo>
                            <a:pt x="908" y="1138"/>
                          </a:lnTo>
                          <a:lnTo>
                            <a:pt x="897" y="1144"/>
                          </a:lnTo>
                          <a:lnTo>
                            <a:pt x="919" y="1182"/>
                          </a:lnTo>
                          <a:lnTo>
                            <a:pt x="934" y="1178"/>
                          </a:lnTo>
                          <a:lnTo>
                            <a:pt x="957" y="1190"/>
                          </a:lnTo>
                          <a:lnTo>
                            <a:pt x="966" y="1213"/>
                          </a:lnTo>
                          <a:lnTo>
                            <a:pt x="997" y="1208"/>
                          </a:lnTo>
                          <a:lnTo>
                            <a:pt x="1041" y="1201"/>
                          </a:lnTo>
                          <a:lnTo>
                            <a:pt x="1074" y="1185"/>
                          </a:lnTo>
                          <a:lnTo>
                            <a:pt x="1094" y="1182"/>
                          </a:lnTo>
                          <a:lnTo>
                            <a:pt x="1123" y="1194"/>
                          </a:lnTo>
                          <a:lnTo>
                            <a:pt x="1153" y="1202"/>
                          </a:lnTo>
                          <a:lnTo>
                            <a:pt x="1160" y="1185"/>
                          </a:lnTo>
                          <a:lnTo>
                            <a:pt x="1149" y="1165"/>
                          </a:lnTo>
                          <a:lnTo>
                            <a:pt x="1176" y="1162"/>
                          </a:lnTo>
                          <a:lnTo>
                            <a:pt x="1178" y="1141"/>
                          </a:lnTo>
                          <a:close/>
                          <a:moveTo>
                            <a:pt x="1538" y="1417"/>
                          </a:moveTo>
                          <a:lnTo>
                            <a:pt x="1526" y="1405"/>
                          </a:lnTo>
                          <a:lnTo>
                            <a:pt x="1512" y="1408"/>
                          </a:lnTo>
                          <a:lnTo>
                            <a:pt x="1511" y="1390"/>
                          </a:lnTo>
                          <a:lnTo>
                            <a:pt x="1492" y="1377"/>
                          </a:lnTo>
                          <a:lnTo>
                            <a:pt x="1472" y="1362"/>
                          </a:lnTo>
                          <a:lnTo>
                            <a:pt x="1463" y="1351"/>
                          </a:lnTo>
                          <a:lnTo>
                            <a:pt x="1454" y="1359"/>
                          </a:lnTo>
                          <a:lnTo>
                            <a:pt x="1451" y="1341"/>
                          </a:lnTo>
                          <a:lnTo>
                            <a:pt x="1439" y="1337"/>
                          </a:lnTo>
                          <a:lnTo>
                            <a:pt x="1433" y="1374"/>
                          </a:lnTo>
                          <a:lnTo>
                            <a:pt x="1431" y="1407"/>
                          </a:lnTo>
                          <a:lnTo>
                            <a:pt x="1416" y="1425"/>
                          </a:lnTo>
                          <a:lnTo>
                            <a:pt x="1439" y="1422"/>
                          </a:lnTo>
                          <a:lnTo>
                            <a:pt x="1445" y="1444"/>
                          </a:lnTo>
                          <a:lnTo>
                            <a:pt x="1469" y="1424"/>
                          </a:lnTo>
                          <a:lnTo>
                            <a:pt x="1486" y="1404"/>
                          </a:lnTo>
                          <a:lnTo>
                            <a:pt x="1495" y="1420"/>
                          </a:lnTo>
                          <a:lnTo>
                            <a:pt x="1523" y="1430"/>
                          </a:lnTo>
                          <a:lnTo>
                            <a:pt x="1538" y="1417"/>
                          </a:lnTo>
                          <a:close/>
                          <a:moveTo>
                            <a:pt x="1364" y="315"/>
                          </a:moveTo>
                          <a:lnTo>
                            <a:pt x="1379" y="361"/>
                          </a:lnTo>
                          <a:lnTo>
                            <a:pt x="1410" y="397"/>
                          </a:lnTo>
                          <a:lnTo>
                            <a:pt x="1469" y="391"/>
                          </a:lnTo>
                          <a:lnTo>
                            <a:pt x="1508" y="403"/>
                          </a:lnTo>
                          <a:lnTo>
                            <a:pt x="1482" y="440"/>
                          </a:lnTo>
                          <a:lnTo>
                            <a:pt x="1468" y="429"/>
                          </a:lnTo>
                          <a:lnTo>
                            <a:pt x="1420" y="424"/>
                          </a:lnTo>
                          <a:lnTo>
                            <a:pt x="1428" y="475"/>
                          </a:lnTo>
                          <a:lnTo>
                            <a:pt x="1453" y="512"/>
                          </a:lnTo>
                          <a:lnTo>
                            <a:pt x="1446" y="544"/>
                          </a:lnTo>
                          <a:lnTo>
                            <a:pt x="1417" y="566"/>
                          </a:lnTo>
                          <a:lnTo>
                            <a:pt x="1403" y="600"/>
                          </a:lnTo>
                          <a:lnTo>
                            <a:pt x="1431" y="615"/>
                          </a:lnTo>
                          <a:lnTo>
                            <a:pt x="1454" y="669"/>
                          </a:lnTo>
                          <a:lnTo>
                            <a:pt x="1408" y="633"/>
                          </a:lnTo>
                          <a:lnTo>
                            <a:pt x="1397" y="638"/>
                          </a:lnTo>
                          <a:lnTo>
                            <a:pt x="1407" y="696"/>
                          </a:lnTo>
                          <a:lnTo>
                            <a:pt x="1374" y="713"/>
                          </a:lnTo>
                          <a:lnTo>
                            <a:pt x="1376" y="750"/>
                          </a:lnTo>
                          <a:lnTo>
                            <a:pt x="1410" y="753"/>
                          </a:lnTo>
                          <a:lnTo>
                            <a:pt x="1434" y="763"/>
                          </a:lnTo>
                          <a:lnTo>
                            <a:pt x="1485" y="752"/>
                          </a:lnTo>
                          <a:lnTo>
                            <a:pt x="1531" y="772"/>
                          </a:lnTo>
                          <a:lnTo>
                            <a:pt x="1575" y="727"/>
                          </a:lnTo>
                          <a:lnTo>
                            <a:pt x="1575" y="709"/>
                          </a:lnTo>
                          <a:lnTo>
                            <a:pt x="1546" y="712"/>
                          </a:lnTo>
                          <a:lnTo>
                            <a:pt x="1545" y="693"/>
                          </a:lnTo>
                          <a:lnTo>
                            <a:pt x="1568" y="670"/>
                          </a:lnTo>
                          <a:lnTo>
                            <a:pt x="1577" y="640"/>
                          </a:lnTo>
                          <a:lnTo>
                            <a:pt x="1603" y="615"/>
                          </a:lnTo>
                          <a:lnTo>
                            <a:pt x="1618" y="586"/>
                          </a:lnTo>
                          <a:lnTo>
                            <a:pt x="1604" y="543"/>
                          </a:lnTo>
                          <a:lnTo>
                            <a:pt x="1617" y="526"/>
                          </a:lnTo>
                          <a:lnTo>
                            <a:pt x="1594" y="515"/>
                          </a:lnTo>
                          <a:lnTo>
                            <a:pt x="1644" y="504"/>
                          </a:lnTo>
                          <a:lnTo>
                            <a:pt x="1657" y="484"/>
                          </a:lnTo>
                          <a:lnTo>
                            <a:pt x="1692" y="469"/>
                          </a:lnTo>
                          <a:lnTo>
                            <a:pt x="1721" y="386"/>
                          </a:lnTo>
                          <a:lnTo>
                            <a:pt x="1749" y="355"/>
                          </a:lnTo>
                          <a:lnTo>
                            <a:pt x="1790" y="288"/>
                          </a:lnTo>
                          <a:lnTo>
                            <a:pt x="1752" y="288"/>
                          </a:lnTo>
                          <a:lnTo>
                            <a:pt x="1767" y="261"/>
                          </a:lnTo>
                          <a:lnTo>
                            <a:pt x="1810" y="237"/>
                          </a:lnTo>
                          <a:lnTo>
                            <a:pt x="1851" y="183"/>
                          </a:lnTo>
                          <a:lnTo>
                            <a:pt x="1851" y="148"/>
                          </a:lnTo>
                          <a:lnTo>
                            <a:pt x="1821" y="111"/>
                          </a:lnTo>
                          <a:lnTo>
                            <a:pt x="1784" y="92"/>
                          </a:lnTo>
                          <a:lnTo>
                            <a:pt x="1738" y="82"/>
                          </a:lnTo>
                          <a:lnTo>
                            <a:pt x="1701" y="72"/>
                          </a:lnTo>
                          <a:lnTo>
                            <a:pt x="1663" y="63"/>
                          </a:lnTo>
                          <a:lnTo>
                            <a:pt x="1614" y="86"/>
                          </a:lnTo>
                          <a:lnTo>
                            <a:pt x="1604" y="71"/>
                          </a:lnTo>
                          <a:lnTo>
                            <a:pt x="1552" y="77"/>
                          </a:lnTo>
                          <a:lnTo>
                            <a:pt x="1522" y="94"/>
                          </a:lnTo>
                          <a:lnTo>
                            <a:pt x="1499" y="115"/>
                          </a:lnTo>
                          <a:lnTo>
                            <a:pt x="1485" y="188"/>
                          </a:lnTo>
                          <a:lnTo>
                            <a:pt x="1466" y="151"/>
                          </a:lnTo>
                          <a:lnTo>
                            <a:pt x="1445" y="145"/>
                          </a:lnTo>
                          <a:lnTo>
                            <a:pt x="1420" y="192"/>
                          </a:lnTo>
                          <a:lnTo>
                            <a:pt x="1387" y="214"/>
                          </a:lnTo>
                          <a:lnTo>
                            <a:pt x="1367" y="217"/>
                          </a:lnTo>
                          <a:lnTo>
                            <a:pt x="1341" y="241"/>
                          </a:lnTo>
                          <a:lnTo>
                            <a:pt x="1344" y="281"/>
                          </a:lnTo>
                          <a:lnTo>
                            <a:pt x="1364" y="315"/>
                          </a:lnTo>
                          <a:close/>
                          <a:moveTo>
                            <a:pt x="1029" y="580"/>
                          </a:moveTo>
                          <a:lnTo>
                            <a:pt x="1006" y="561"/>
                          </a:lnTo>
                          <a:lnTo>
                            <a:pt x="997" y="558"/>
                          </a:lnTo>
                          <a:lnTo>
                            <a:pt x="980" y="584"/>
                          </a:lnTo>
                          <a:lnTo>
                            <a:pt x="980" y="597"/>
                          </a:lnTo>
                          <a:lnTo>
                            <a:pt x="1008" y="597"/>
                          </a:lnTo>
                          <a:lnTo>
                            <a:pt x="1029" y="580"/>
                          </a:lnTo>
                          <a:close/>
                          <a:moveTo>
                            <a:pt x="1747" y="1135"/>
                          </a:moveTo>
                          <a:lnTo>
                            <a:pt x="1733" y="1115"/>
                          </a:lnTo>
                          <a:lnTo>
                            <a:pt x="1690" y="1095"/>
                          </a:lnTo>
                          <a:lnTo>
                            <a:pt x="1673" y="1059"/>
                          </a:lnTo>
                          <a:lnTo>
                            <a:pt x="1641" y="1072"/>
                          </a:lnTo>
                          <a:lnTo>
                            <a:pt x="1640" y="1048"/>
                          </a:lnTo>
                          <a:lnTo>
                            <a:pt x="1615" y="1022"/>
                          </a:lnTo>
                          <a:lnTo>
                            <a:pt x="1577" y="993"/>
                          </a:lnTo>
                          <a:lnTo>
                            <a:pt x="1561" y="1016"/>
                          </a:lnTo>
                          <a:lnTo>
                            <a:pt x="1526" y="1032"/>
                          </a:lnTo>
                          <a:lnTo>
                            <a:pt x="1529" y="995"/>
                          </a:lnTo>
                          <a:lnTo>
                            <a:pt x="1500" y="933"/>
                          </a:lnTo>
                          <a:lnTo>
                            <a:pt x="1456" y="958"/>
                          </a:lnTo>
                          <a:lnTo>
                            <a:pt x="1440" y="1005"/>
                          </a:lnTo>
                          <a:lnTo>
                            <a:pt x="1426" y="969"/>
                          </a:lnTo>
                          <a:lnTo>
                            <a:pt x="1439" y="930"/>
                          </a:lnTo>
                          <a:lnTo>
                            <a:pt x="1394" y="945"/>
                          </a:lnTo>
                          <a:lnTo>
                            <a:pt x="1377" y="970"/>
                          </a:lnTo>
                          <a:lnTo>
                            <a:pt x="1364" y="1022"/>
                          </a:lnTo>
                          <a:lnTo>
                            <a:pt x="1370" y="1078"/>
                          </a:lnTo>
                          <a:lnTo>
                            <a:pt x="1394" y="1078"/>
                          </a:lnTo>
                          <a:lnTo>
                            <a:pt x="1376" y="1102"/>
                          </a:lnTo>
                          <a:lnTo>
                            <a:pt x="1390" y="1121"/>
                          </a:lnTo>
                          <a:lnTo>
                            <a:pt x="1419" y="1128"/>
                          </a:lnTo>
                          <a:lnTo>
                            <a:pt x="1454" y="1144"/>
                          </a:lnTo>
                          <a:lnTo>
                            <a:pt x="1517" y="1155"/>
                          </a:lnTo>
                          <a:lnTo>
                            <a:pt x="1548" y="1148"/>
                          </a:lnTo>
                          <a:lnTo>
                            <a:pt x="1557" y="1133"/>
                          </a:lnTo>
                          <a:lnTo>
                            <a:pt x="1571" y="1150"/>
                          </a:lnTo>
                          <a:lnTo>
                            <a:pt x="1586" y="1153"/>
                          </a:lnTo>
                          <a:lnTo>
                            <a:pt x="1604" y="1184"/>
                          </a:lnTo>
                          <a:lnTo>
                            <a:pt x="1594" y="1196"/>
                          </a:lnTo>
                          <a:lnTo>
                            <a:pt x="1629" y="1211"/>
                          </a:lnTo>
                          <a:lnTo>
                            <a:pt x="1655" y="1234"/>
                          </a:lnTo>
                          <a:lnTo>
                            <a:pt x="1661" y="1250"/>
                          </a:lnTo>
                          <a:lnTo>
                            <a:pt x="1666" y="1270"/>
                          </a:lnTo>
                          <a:lnTo>
                            <a:pt x="1644" y="1313"/>
                          </a:lnTo>
                          <a:lnTo>
                            <a:pt x="1638" y="1334"/>
                          </a:lnTo>
                          <a:lnTo>
                            <a:pt x="1643" y="1348"/>
                          </a:lnTo>
                          <a:lnTo>
                            <a:pt x="1607" y="1354"/>
                          </a:lnTo>
                          <a:lnTo>
                            <a:pt x="1575" y="1354"/>
                          </a:lnTo>
                          <a:lnTo>
                            <a:pt x="1565" y="1385"/>
                          </a:lnTo>
                          <a:lnTo>
                            <a:pt x="1578" y="1399"/>
                          </a:lnTo>
                          <a:lnTo>
                            <a:pt x="1629" y="1391"/>
                          </a:lnTo>
                          <a:lnTo>
                            <a:pt x="1629" y="1381"/>
                          </a:lnTo>
                          <a:lnTo>
                            <a:pt x="1653" y="1400"/>
                          </a:lnTo>
                          <a:lnTo>
                            <a:pt x="1680" y="1420"/>
                          </a:lnTo>
                          <a:lnTo>
                            <a:pt x="1673" y="1431"/>
                          </a:lnTo>
                          <a:lnTo>
                            <a:pt x="1693" y="1450"/>
                          </a:lnTo>
                          <a:lnTo>
                            <a:pt x="1730" y="1471"/>
                          </a:lnTo>
                          <a:lnTo>
                            <a:pt x="1778" y="1485"/>
                          </a:lnTo>
                          <a:lnTo>
                            <a:pt x="1775" y="1473"/>
                          </a:lnTo>
                          <a:lnTo>
                            <a:pt x="1756" y="1450"/>
                          </a:lnTo>
                          <a:lnTo>
                            <a:pt x="1733" y="1417"/>
                          </a:lnTo>
                          <a:lnTo>
                            <a:pt x="1776" y="1448"/>
                          </a:lnTo>
                          <a:lnTo>
                            <a:pt x="1798" y="1459"/>
                          </a:lnTo>
                          <a:lnTo>
                            <a:pt x="1804" y="1431"/>
                          </a:lnTo>
                          <a:lnTo>
                            <a:pt x="1792" y="1393"/>
                          </a:lnTo>
                          <a:lnTo>
                            <a:pt x="1785" y="1382"/>
                          </a:lnTo>
                          <a:lnTo>
                            <a:pt x="1762" y="1364"/>
                          </a:lnTo>
                          <a:lnTo>
                            <a:pt x="1744" y="1339"/>
                          </a:lnTo>
                          <a:lnTo>
                            <a:pt x="1746" y="1314"/>
                          </a:lnTo>
                          <a:lnTo>
                            <a:pt x="1769" y="1310"/>
                          </a:lnTo>
                          <a:lnTo>
                            <a:pt x="1795" y="1350"/>
                          </a:lnTo>
                          <a:lnTo>
                            <a:pt x="1816" y="1368"/>
                          </a:lnTo>
                          <a:lnTo>
                            <a:pt x="1847" y="1319"/>
                          </a:lnTo>
                          <a:lnTo>
                            <a:pt x="1851" y="1288"/>
                          </a:lnTo>
                          <a:lnTo>
                            <a:pt x="1825" y="1285"/>
                          </a:lnTo>
                          <a:lnTo>
                            <a:pt x="1799" y="1245"/>
                          </a:lnTo>
                          <a:lnTo>
                            <a:pt x="1773" y="1234"/>
                          </a:lnTo>
                          <a:lnTo>
                            <a:pt x="1732" y="1204"/>
                          </a:lnTo>
                          <a:lnTo>
                            <a:pt x="1764" y="1182"/>
                          </a:lnTo>
                          <a:lnTo>
                            <a:pt x="1747" y="1135"/>
                          </a:lnTo>
                          <a:close/>
                          <a:moveTo>
                            <a:pt x="1621" y="1262"/>
                          </a:moveTo>
                          <a:lnTo>
                            <a:pt x="1624" y="1256"/>
                          </a:lnTo>
                          <a:lnTo>
                            <a:pt x="1624" y="1238"/>
                          </a:lnTo>
                          <a:lnTo>
                            <a:pt x="1611" y="1224"/>
                          </a:lnTo>
                          <a:lnTo>
                            <a:pt x="1595" y="1231"/>
                          </a:lnTo>
                          <a:lnTo>
                            <a:pt x="1588" y="1256"/>
                          </a:lnTo>
                          <a:lnTo>
                            <a:pt x="1592" y="1279"/>
                          </a:lnTo>
                          <a:lnTo>
                            <a:pt x="1611" y="1276"/>
                          </a:lnTo>
                          <a:lnTo>
                            <a:pt x="1621" y="1262"/>
                          </a:lnTo>
                          <a:close/>
                          <a:moveTo>
                            <a:pt x="1118" y="953"/>
                          </a:moveTo>
                          <a:lnTo>
                            <a:pt x="1104" y="939"/>
                          </a:lnTo>
                          <a:lnTo>
                            <a:pt x="1081" y="942"/>
                          </a:lnTo>
                          <a:lnTo>
                            <a:pt x="1077" y="950"/>
                          </a:lnTo>
                          <a:lnTo>
                            <a:pt x="1103" y="992"/>
                          </a:lnTo>
                          <a:lnTo>
                            <a:pt x="1118" y="953"/>
                          </a:lnTo>
                          <a:close/>
                          <a:moveTo>
                            <a:pt x="1199" y="859"/>
                          </a:moveTo>
                          <a:lnTo>
                            <a:pt x="1227" y="853"/>
                          </a:lnTo>
                          <a:lnTo>
                            <a:pt x="1235" y="802"/>
                          </a:lnTo>
                          <a:lnTo>
                            <a:pt x="1235" y="766"/>
                          </a:lnTo>
                          <a:lnTo>
                            <a:pt x="1221" y="732"/>
                          </a:lnTo>
                          <a:lnTo>
                            <a:pt x="1219" y="741"/>
                          </a:lnTo>
                          <a:lnTo>
                            <a:pt x="1196" y="736"/>
                          </a:lnTo>
                          <a:lnTo>
                            <a:pt x="1170" y="763"/>
                          </a:lnTo>
                          <a:lnTo>
                            <a:pt x="1152" y="759"/>
                          </a:lnTo>
                          <a:lnTo>
                            <a:pt x="1152" y="815"/>
                          </a:lnTo>
                          <a:lnTo>
                            <a:pt x="1181" y="809"/>
                          </a:lnTo>
                          <a:lnTo>
                            <a:pt x="1181" y="849"/>
                          </a:lnTo>
                          <a:lnTo>
                            <a:pt x="1199" y="859"/>
                          </a:lnTo>
                          <a:close/>
                          <a:moveTo>
                            <a:pt x="1525" y="958"/>
                          </a:moveTo>
                          <a:lnTo>
                            <a:pt x="1543" y="990"/>
                          </a:lnTo>
                          <a:lnTo>
                            <a:pt x="1549" y="993"/>
                          </a:lnTo>
                          <a:lnTo>
                            <a:pt x="1568" y="985"/>
                          </a:lnTo>
                          <a:lnTo>
                            <a:pt x="1586" y="987"/>
                          </a:lnTo>
                          <a:lnTo>
                            <a:pt x="1604" y="989"/>
                          </a:lnTo>
                          <a:lnTo>
                            <a:pt x="1603" y="972"/>
                          </a:lnTo>
                          <a:lnTo>
                            <a:pt x="1572" y="939"/>
                          </a:lnTo>
                          <a:lnTo>
                            <a:pt x="1534" y="932"/>
                          </a:lnTo>
                          <a:lnTo>
                            <a:pt x="1525" y="936"/>
                          </a:lnTo>
                          <a:lnTo>
                            <a:pt x="1525" y="958"/>
                          </a:lnTo>
                          <a:close/>
                          <a:moveTo>
                            <a:pt x="1229" y="624"/>
                          </a:moveTo>
                          <a:lnTo>
                            <a:pt x="1242" y="643"/>
                          </a:lnTo>
                          <a:lnTo>
                            <a:pt x="1267" y="626"/>
                          </a:lnTo>
                          <a:lnTo>
                            <a:pt x="1272" y="595"/>
                          </a:lnTo>
                          <a:lnTo>
                            <a:pt x="1252" y="564"/>
                          </a:lnTo>
                          <a:lnTo>
                            <a:pt x="1241" y="560"/>
                          </a:lnTo>
                          <a:lnTo>
                            <a:pt x="1219" y="555"/>
                          </a:lnTo>
                          <a:lnTo>
                            <a:pt x="1221" y="592"/>
                          </a:lnTo>
                          <a:lnTo>
                            <a:pt x="1229" y="624"/>
                          </a:lnTo>
                          <a:close/>
                          <a:moveTo>
                            <a:pt x="1123" y="573"/>
                          </a:moveTo>
                          <a:lnTo>
                            <a:pt x="1106" y="598"/>
                          </a:lnTo>
                          <a:lnTo>
                            <a:pt x="1144" y="601"/>
                          </a:lnTo>
                          <a:lnTo>
                            <a:pt x="1173" y="629"/>
                          </a:lnTo>
                          <a:lnTo>
                            <a:pt x="1201" y="638"/>
                          </a:lnTo>
                          <a:lnTo>
                            <a:pt x="1195" y="603"/>
                          </a:lnTo>
                          <a:lnTo>
                            <a:pt x="1181" y="561"/>
                          </a:lnTo>
                          <a:lnTo>
                            <a:pt x="1135" y="529"/>
                          </a:lnTo>
                          <a:lnTo>
                            <a:pt x="1101" y="517"/>
                          </a:lnTo>
                          <a:lnTo>
                            <a:pt x="1103" y="552"/>
                          </a:lnTo>
                          <a:lnTo>
                            <a:pt x="1123" y="573"/>
                          </a:lnTo>
                          <a:close/>
                          <a:moveTo>
                            <a:pt x="1282" y="510"/>
                          </a:moveTo>
                          <a:lnTo>
                            <a:pt x="1313" y="509"/>
                          </a:lnTo>
                          <a:lnTo>
                            <a:pt x="1299" y="533"/>
                          </a:lnTo>
                          <a:lnTo>
                            <a:pt x="1299" y="566"/>
                          </a:lnTo>
                          <a:lnTo>
                            <a:pt x="1318" y="601"/>
                          </a:lnTo>
                          <a:lnTo>
                            <a:pt x="1354" y="612"/>
                          </a:lnTo>
                          <a:lnTo>
                            <a:pt x="1384" y="606"/>
                          </a:lnTo>
                          <a:lnTo>
                            <a:pt x="1416" y="541"/>
                          </a:lnTo>
                          <a:lnTo>
                            <a:pt x="1440" y="513"/>
                          </a:lnTo>
                          <a:lnTo>
                            <a:pt x="1419" y="483"/>
                          </a:lnTo>
                          <a:lnTo>
                            <a:pt x="1405" y="417"/>
                          </a:lnTo>
                          <a:lnTo>
                            <a:pt x="1377" y="397"/>
                          </a:lnTo>
                          <a:lnTo>
                            <a:pt x="1348" y="375"/>
                          </a:lnTo>
                          <a:lnTo>
                            <a:pt x="1327" y="317"/>
                          </a:lnTo>
                          <a:lnTo>
                            <a:pt x="1287" y="321"/>
                          </a:lnTo>
                          <a:lnTo>
                            <a:pt x="1293" y="347"/>
                          </a:lnTo>
                          <a:lnTo>
                            <a:pt x="1276" y="355"/>
                          </a:lnTo>
                          <a:lnTo>
                            <a:pt x="1264" y="387"/>
                          </a:lnTo>
                          <a:lnTo>
                            <a:pt x="1252" y="434"/>
                          </a:lnTo>
                          <a:lnTo>
                            <a:pt x="1264" y="478"/>
                          </a:lnTo>
                          <a:lnTo>
                            <a:pt x="1282" y="510"/>
                          </a:lnTo>
                          <a:close/>
                          <a:moveTo>
                            <a:pt x="1295" y="1035"/>
                          </a:moveTo>
                          <a:lnTo>
                            <a:pt x="1313" y="992"/>
                          </a:lnTo>
                          <a:lnTo>
                            <a:pt x="1333" y="979"/>
                          </a:lnTo>
                          <a:lnTo>
                            <a:pt x="1359" y="927"/>
                          </a:lnTo>
                          <a:lnTo>
                            <a:pt x="1325" y="912"/>
                          </a:lnTo>
                          <a:lnTo>
                            <a:pt x="1290" y="909"/>
                          </a:lnTo>
                          <a:lnTo>
                            <a:pt x="1273" y="925"/>
                          </a:lnTo>
                          <a:lnTo>
                            <a:pt x="1264" y="952"/>
                          </a:lnTo>
                          <a:lnTo>
                            <a:pt x="1264" y="981"/>
                          </a:lnTo>
                          <a:lnTo>
                            <a:pt x="1275" y="1032"/>
                          </a:lnTo>
                          <a:lnTo>
                            <a:pt x="1295" y="1035"/>
                          </a:lnTo>
                          <a:close/>
                          <a:moveTo>
                            <a:pt x="1302" y="670"/>
                          </a:moveTo>
                          <a:lnTo>
                            <a:pt x="1304" y="661"/>
                          </a:lnTo>
                          <a:lnTo>
                            <a:pt x="1291" y="646"/>
                          </a:lnTo>
                          <a:lnTo>
                            <a:pt x="1256" y="644"/>
                          </a:lnTo>
                          <a:lnTo>
                            <a:pt x="1261" y="667"/>
                          </a:lnTo>
                          <a:lnTo>
                            <a:pt x="1293" y="672"/>
                          </a:lnTo>
                          <a:lnTo>
                            <a:pt x="1302" y="670"/>
                          </a:lnTo>
                          <a:close/>
                          <a:moveTo>
                            <a:pt x="1296" y="879"/>
                          </a:moveTo>
                          <a:lnTo>
                            <a:pt x="1305" y="855"/>
                          </a:lnTo>
                          <a:lnTo>
                            <a:pt x="1299" y="833"/>
                          </a:lnTo>
                          <a:lnTo>
                            <a:pt x="1284" y="809"/>
                          </a:lnTo>
                          <a:lnTo>
                            <a:pt x="1259" y="827"/>
                          </a:lnTo>
                          <a:lnTo>
                            <a:pt x="1250" y="858"/>
                          </a:lnTo>
                          <a:lnTo>
                            <a:pt x="1272" y="875"/>
                          </a:lnTo>
                          <a:lnTo>
                            <a:pt x="1296" y="879"/>
                          </a:lnTo>
                          <a:close/>
                          <a:moveTo>
                            <a:pt x="1399" y="893"/>
                          </a:moveTo>
                          <a:lnTo>
                            <a:pt x="1434" y="892"/>
                          </a:lnTo>
                          <a:lnTo>
                            <a:pt x="1485" y="881"/>
                          </a:lnTo>
                          <a:lnTo>
                            <a:pt x="1506" y="890"/>
                          </a:lnTo>
                          <a:lnTo>
                            <a:pt x="1532" y="876"/>
                          </a:lnTo>
                          <a:lnTo>
                            <a:pt x="1543" y="858"/>
                          </a:lnTo>
                          <a:lnTo>
                            <a:pt x="1538" y="830"/>
                          </a:lnTo>
                          <a:lnTo>
                            <a:pt x="1520" y="804"/>
                          </a:lnTo>
                          <a:lnTo>
                            <a:pt x="1492" y="799"/>
                          </a:lnTo>
                          <a:lnTo>
                            <a:pt x="1457" y="806"/>
                          </a:lnTo>
                          <a:lnTo>
                            <a:pt x="1430" y="821"/>
                          </a:lnTo>
                          <a:lnTo>
                            <a:pt x="1405" y="815"/>
                          </a:lnTo>
                          <a:lnTo>
                            <a:pt x="1382" y="812"/>
                          </a:lnTo>
                          <a:lnTo>
                            <a:pt x="1371" y="795"/>
                          </a:lnTo>
                          <a:lnTo>
                            <a:pt x="1351" y="779"/>
                          </a:lnTo>
                          <a:lnTo>
                            <a:pt x="1354" y="752"/>
                          </a:lnTo>
                          <a:lnTo>
                            <a:pt x="1341" y="727"/>
                          </a:lnTo>
                          <a:lnTo>
                            <a:pt x="1307" y="727"/>
                          </a:lnTo>
                          <a:lnTo>
                            <a:pt x="1287" y="703"/>
                          </a:lnTo>
                          <a:lnTo>
                            <a:pt x="1252" y="698"/>
                          </a:lnTo>
                          <a:lnTo>
                            <a:pt x="1245" y="729"/>
                          </a:lnTo>
                          <a:lnTo>
                            <a:pt x="1265" y="752"/>
                          </a:lnTo>
                          <a:lnTo>
                            <a:pt x="1301" y="761"/>
                          </a:lnTo>
                          <a:lnTo>
                            <a:pt x="1318" y="792"/>
                          </a:lnTo>
                          <a:lnTo>
                            <a:pt x="1321" y="827"/>
                          </a:lnTo>
                          <a:lnTo>
                            <a:pt x="1325" y="864"/>
                          </a:lnTo>
                          <a:lnTo>
                            <a:pt x="1371" y="884"/>
                          </a:lnTo>
                          <a:lnTo>
                            <a:pt x="1399" y="893"/>
                          </a:lnTo>
                          <a:close/>
                        </a:path>
                      </a:pathLst>
                    </a:custGeom>
                    <a:solidFill>
                      <a:srgbClr val="D9D9D9"/>
                    </a:solidFill>
                    <a:ln w="4763" cap="flat">
                      <a:solidFill>
                        <a:srgbClr val="FFFFFF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endParaRPr lang="en-US" sz="1000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2" name="Asia" descr="{&quot;Key&quot;:&quot;asia&quot;,&quot;Name&quot;:&quot;Asia&quot;,&quot;Value&quot;:1.0,&quot;Formula&quot;:&quot;&quot;,&quot;Text&quot;:&quot;&quot;,&quot;OfficeApplication&quot;:1,&quot;HasValue&quot;:true}">
                      <a:extLst>
                        <a:ext uri="{FF2B5EF4-FFF2-40B4-BE49-F238E27FC236}">
                          <a16:creationId xmlns:a16="http://schemas.microsoft.com/office/drawing/2014/main" id="{522E8001-7C9B-4CB6-96E8-CF2E9F506FEC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196" y="317"/>
                      <a:ext cx="2683" cy="2711"/>
                    </a:xfrm>
                    <a:custGeom>
                      <a:avLst/>
                      <a:gdLst>
                        <a:gd name="T0" fmla="*/ 1526 w 2683"/>
                        <a:gd name="T1" fmla="*/ 2346 h 2711"/>
                        <a:gd name="T2" fmla="*/ 1508 w 2683"/>
                        <a:gd name="T3" fmla="*/ 2327 h 2711"/>
                        <a:gd name="T4" fmla="*/ 1595 w 2683"/>
                        <a:gd name="T5" fmla="*/ 2675 h 2711"/>
                        <a:gd name="T6" fmla="*/ 1566 w 2683"/>
                        <a:gd name="T7" fmla="*/ 2355 h 2711"/>
                        <a:gd name="T8" fmla="*/ 1581 w 2683"/>
                        <a:gd name="T9" fmla="*/ 2426 h 2711"/>
                        <a:gd name="T10" fmla="*/ 1727 w 2683"/>
                        <a:gd name="T11" fmla="*/ 1875 h 2711"/>
                        <a:gd name="T12" fmla="*/ 1824 w 2683"/>
                        <a:gd name="T13" fmla="*/ 1889 h 2711"/>
                        <a:gd name="T14" fmla="*/ 1874 w 2683"/>
                        <a:gd name="T15" fmla="*/ 1557 h 2711"/>
                        <a:gd name="T16" fmla="*/ 469 w 2683"/>
                        <a:gd name="T17" fmla="*/ 2089 h 2711"/>
                        <a:gd name="T18" fmla="*/ 250 w 2683"/>
                        <a:gd name="T19" fmla="*/ 2038 h 2711"/>
                        <a:gd name="T20" fmla="*/ 330 w 2683"/>
                        <a:gd name="T21" fmla="*/ 2106 h 2711"/>
                        <a:gd name="T22" fmla="*/ 423 w 2683"/>
                        <a:gd name="T23" fmla="*/ 2163 h 2711"/>
                        <a:gd name="T24" fmla="*/ 308 w 2683"/>
                        <a:gd name="T25" fmla="*/ 2263 h 2711"/>
                        <a:gd name="T26" fmla="*/ 144 w 2683"/>
                        <a:gd name="T27" fmla="*/ 2269 h 2711"/>
                        <a:gd name="T28" fmla="*/ 50 w 2683"/>
                        <a:gd name="T29" fmla="*/ 2089 h 2711"/>
                        <a:gd name="T30" fmla="*/ 30 w 2683"/>
                        <a:gd name="T31" fmla="*/ 1898 h 2711"/>
                        <a:gd name="T32" fmla="*/ 181 w 2683"/>
                        <a:gd name="T33" fmla="*/ 1789 h 2711"/>
                        <a:gd name="T34" fmla="*/ 325 w 2683"/>
                        <a:gd name="T35" fmla="*/ 1798 h 2711"/>
                        <a:gd name="T36" fmla="*/ 308 w 2683"/>
                        <a:gd name="T37" fmla="*/ 1657 h 2711"/>
                        <a:gd name="T38" fmla="*/ 350 w 2683"/>
                        <a:gd name="T39" fmla="*/ 1511 h 2711"/>
                        <a:gd name="T40" fmla="*/ 391 w 2683"/>
                        <a:gd name="T41" fmla="*/ 1414 h 2711"/>
                        <a:gd name="T42" fmla="*/ 590 w 2683"/>
                        <a:gd name="T43" fmla="*/ 916 h 2711"/>
                        <a:gd name="T44" fmla="*/ 656 w 2683"/>
                        <a:gd name="T45" fmla="*/ 1002 h 2711"/>
                        <a:gd name="T46" fmla="*/ 813 w 2683"/>
                        <a:gd name="T47" fmla="*/ 731 h 2711"/>
                        <a:gd name="T48" fmla="*/ 1212 w 2683"/>
                        <a:gd name="T49" fmla="*/ 384 h 2711"/>
                        <a:gd name="T50" fmla="*/ 1531 w 2683"/>
                        <a:gd name="T51" fmla="*/ 616 h 2711"/>
                        <a:gd name="T52" fmla="*/ 2146 w 2683"/>
                        <a:gd name="T53" fmla="*/ 779 h 2711"/>
                        <a:gd name="T54" fmla="*/ 2601 w 2683"/>
                        <a:gd name="T55" fmla="*/ 962 h 2711"/>
                        <a:gd name="T56" fmla="*/ 2463 w 2683"/>
                        <a:gd name="T57" fmla="*/ 1067 h 2711"/>
                        <a:gd name="T58" fmla="*/ 2219 w 2683"/>
                        <a:gd name="T59" fmla="*/ 1317 h 2711"/>
                        <a:gd name="T60" fmla="*/ 2241 w 2683"/>
                        <a:gd name="T61" fmla="*/ 1147 h 2711"/>
                        <a:gd name="T62" fmla="*/ 1801 w 2683"/>
                        <a:gd name="T63" fmla="*/ 1420 h 2711"/>
                        <a:gd name="T64" fmla="*/ 1643 w 2683"/>
                        <a:gd name="T65" fmla="*/ 1763 h 2711"/>
                        <a:gd name="T66" fmla="*/ 1593 w 2683"/>
                        <a:gd name="T67" fmla="*/ 1851 h 2711"/>
                        <a:gd name="T68" fmla="*/ 1514 w 2683"/>
                        <a:gd name="T69" fmla="*/ 1774 h 2711"/>
                        <a:gd name="T70" fmla="*/ 1486 w 2683"/>
                        <a:gd name="T71" fmla="*/ 1924 h 2711"/>
                        <a:gd name="T72" fmla="*/ 1317 w 2683"/>
                        <a:gd name="T73" fmla="*/ 2156 h 2711"/>
                        <a:gd name="T74" fmla="*/ 1215 w 2683"/>
                        <a:gd name="T75" fmla="*/ 2373 h 2711"/>
                        <a:gd name="T76" fmla="*/ 1172 w 2683"/>
                        <a:gd name="T77" fmla="*/ 2427 h 2711"/>
                        <a:gd name="T78" fmla="*/ 1124 w 2683"/>
                        <a:gd name="T79" fmla="*/ 2406 h 2711"/>
                        <a:gd name="T80" fmla="*/ 1034 w 2683"/>
                        <a:gd name="T81" fmla="*/ 2215 h 2711"/>
                        <a:gd name="T82" fmla="*/ 900 w 2683"/>
                        <a:gd name="T83" fmla="*/ 2180 h 2711"/>
                        <a:gd name="T84" fmla="*/ 728 w 2683"/>
                        <a:gd name="T85" fmla="*/ 2379 h 2711"/>
                        <a:gd name="T86" fmla="*/ 554 w 2683"/>
                        <a:gd name="T87" fmla="*/ 2081 h 2711"/>
                        <a:gd name="T88" fmla="*/ 1899 w 2683"/>
                        <a:gd name="T89" fmla="*/ 1691 h 2711"/>
                        <a:gd name="T90" fmla="*/ 1681 w 2683"/>
                        <a:gd name="T91" fmla="*/ 2581 h 2711"/>
                        <a:gd name="T92" fmla="*/ 1477 w 2683"/>
                        <a:gd name="T93" fmla="*/ 2273 h 2711"/>
                        <a:gd name="T94" fmla="*/ 1514 w 2683"/>
                        <a:gd name="T95" fmla="*/ 2250 h 2711"/>
                        <a:gd name="T96" fmla="*/ 1689 w 2683"/>
                        <a:gd name="T97" fmla="*/ 1923 h 2711"/>
                        <a:gd name="T98" fmla="*/ 1092 w 2683"/>
                        <a:gd name="T99" fmla="*/ 249 h 2711"/>
                        <a:gd name="T100" fmla="*/ 1817 w 2683"/>
                        <a:gd name="T101" fmla="*/ 639 h 2711"/>
                        <a:gd name="T102" fmla="*/ 2525 w 2683"/>
                        <a:gd name="T103" fmla="*/ 742 h 2711"/>
                        <a:gd name="T104" fmla="*/ 1190 w 2683"/>
                        <a:gd name="T105" fmla="*/ 2544 h 2711"/>
                        <a:gd name="T106" fmla="*/ 1147 w 2683"/>
                        <a:gd name="T107" fmla="*/ 2567 h 2711"/>
                        <a:gd name="T108" fmla="*/ 1480 w 2683"/>
                        <a:gd name="T109" fmla="*/ 2708 h 2711"/>
                        <a:gd name="T110" fmla="*/ 1552 w 2683"/>
                        <a:gd name="T111" fmla="*/ 2525 h 2711"/>
                        <a:gd name="T112" fmla="*/ 1492 w 2683"/>
                        <a:gd name="T113" fmla="*/ 2578 h 2711"/>
                        <a:gd name="T114" fmla="*/ 1488 w 2683"/>
                        <a:gd name="T115" fmla="*/ 2675 h 2711"/>
                        <a:gd name="T116" fmla="*/ 1435 w 2683"/>
                        <a:gd name="T117" fmla="*/ 2430 h 2711"/>
                        <a:gd name="T118" fmla="*/ 1307 w 2683"/>
                        <a:gd name="T119" fmla="*/ 2582 h 2711"/>
                        <a:gd name="T120" fmla="*/ 1281 w 2683"/>
                        <a:gd name="T121" fmla="*/ 2210 h 2711"/>
                        <a:gd name="T122" fmla="*/ 1330 w 2683"/>
                        <a:gd name="T123" fmla="*/ 2675 h 27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2683" h="2711">
                          <a:moveTo>
                            <a:pt x="1620" y="2545"/>
                          </a:moveTo>
                          <a:lnTo>
                            <a:pt x="1612" y="2536"/>
                          </a:lnTo>
                          <a:lnTo>
                            <a:pt x="1615" y="2527"/>
                          </a:lnTo>
                          <a:lnTo>
                            <a:pt x="1624" y="2529"/>
                          </a:lnTo>
                          <a:lnTo>
                            <a:pt x="1624" y="2513"/>
                          </a:lnTo>
                          <a:lnTo>
                            <a:pt x="1623" y="2505"/>
                          </a:lnTo>
                          <a:lnTo>
                            <a:pt x="1613" y="2504"/>
                          </a:lnTo>
                          <a:lnTo>
                            <a:pt x="1612" y="2495"/>
                          </a:lnTo>
                          <a:lnTo>
                            <a:pt x="1606" y="2501"/>
                          </a:lnTo>
                          <a:lnTo>
                            <a:pt x="1603" y="2515"/>
                          </a:lnTo>
                          <a:lnTo>
                            <a:pt x="1607" y="2538"/>
                          </a:lnTo>
                          <a:lnTo>
                            <a:pt x="1615" y="2548"/>
                          </a:lnTo>
                          <a:lnTo>
                            <a:pt x="1620" y="2545"/>
                          </a:lnTo>
                          <a:close/>
                          <a:moveTo>
                            <a:pt x="1581" y="2595"/>
                          </a:moveTo>
                          <a:lnTo>
                            <a:pt x="1593" y="2598"/>
                          </a:lnTo>
                          <a:lnTo>
                            <a:pt x="1600" y="2592"/>
                          </a:lnTo>
                          <a:lnTo>
                            <a:pt x="1595" y="2585"/>
                          </a:lnTo>
                          <a:lnTo>
                            <a:pt x="1578" y="2587"/>
                          </a:lnTo>
                          <a:lnTo>
                            <a:pt x="1581" y="2595"/>
                          </a:lnTo>
                          <a:close/>
                          <a:moveTo>
                            <a:pt x="1526" y="2346"/>
                          </a:moveTo>
                          <a:lnTo>
                            <a:pt x="1524" y="2356"/>
                          </a:lnTo>
                          <a:lnTo>
                            <a:pt x="1520" y="2361"/>
                          </a:lnTo>
                          <a:lnTo>
                            <a:pt x="1517" y="2366"/>
                          </a:lnTo>
                          <a:lnTo>
                            <a:pt x="1526" y="2378"/>
                          </a:lnTo>
                          <a:lnTo>
                            <a:pt x="1532" y="2372"/>
                          </a:lnTo>
                          <a:lnTo>
                            <a:pt x="1538" y="2361"/>
                          </a:lnTo>
                          <a:lnTo>
                            <a:pt x="1544" y="2355"/>
                          </a:lnTo>
                          <a:lnTo>
                            <a:pt x="1546" y="2339"/>
                          </a:lnTo>
                          <a:lnTo>
                            <a:pt x="1532" y="2355"/>
                          </a:lnTo>
                          <a:lnTo>
                            <a:pt x="1535" y="2344"/>
                          </a:lnTo>
                          <a:lnTo>
                            <a:pt x="1526" y="2346"/>
                          </a:lnTo>
                          <a:close/>
                          <a:moveTo>
                            <a:pt x="1508" y="2327"/>
                          </a:moveTo>
                          <a:lnTo>
                            <a:pt x="1511" y="2335"/>
                          </a:lnTo>
                          <a:lnTo>
                            <a:pt x="1509" y="2344"/>
                          </a:lnTo>
                          <a:lnTo>
                            <a:pt x="1509" y="2353"/>
                          </a:lnTo>
                          <a:lnTo>
                            <a:pt x="1520" y="2347"/>
                          </a:lnTo>
                          <a:lnTo>
                            <a:pt x="1529" y="2339"/>
                          </a:lnTo>
                          <a:lnTo>
                            <a:pt x="1529" y="2333"/>
                          </a:lnTo>
                          <a:lnTo>
                            <a:pt x="1518" y="2333"/>
                          </a:lnTo>
                          <a:lnTo>
                            <a:pt x="1508" y="2327"/>
                          </a:lnTo>
                          <a:close/>
                          <a:moveTo>
                            <a:pt x="1489" y="2313"/>
                          </a:moveTo>
                          <a:lnTo>
                            <a:pt x="1497" y="2321"/>
                          </a:lnTo>
                          <a:lnTo>
                            <a:pt x="1501" y="2307"/>
                          </a:lnTo>
                          <a:lnTo>
                            <a:pt x="1495" y="2299"/>
                          </a:lnTo>
                          <a:lnTo>
                            <a:pt x="1480" y="2299"/>
                          </a:lnTo>
                          <a:lnTo>
                            <a:pt x="1489" y="2313"/>
                          </a:lnTo>
                          <a:close/>
                          <a:moveTo>
                            <a:pt x="1589" y="2676"/>
                          </a:moveTo>
                          <a:lnTo>
                            <a:pt x="1578" y="2678"/>
                          </a:lnTo>
                          <a:lnTo>
                            <a:pt x="1563" y="2681"/>
                          </a:lnTo>
                          <a:lnTo>
                            <a:pt x="1561" y="2685"/>
                          </a:lnTo>
                          <a:lnTo>
                            <a:pt x="1544" y="2693"/>
                          </a:lnTo>
                          <a:lnTo>
                            <a:pt x="1537" y="2702"/>
                          </a:lnTo>
                          <a:lnTo>
                            <a:pt x="1535" y="2708"/>
                          </a:lnTo>
                          <a:lnTo>
                            <a:pt x="1537" y="2711"/>
                          </a:lnTo>
                          <a:lnTo>
                            <a:pt x="1552" y="2707"/>
                          </a:lnTo>
                          <a:lnTo>
                            <a:pt x="1563" y="2695"/>
                          </a:lnTo>
                          <a:lnTo>
                            <a:pt x="1577" y="2688"/>
                          </a:lnTo>
                          <a:lnTo>
                            <a:pt x="1595" y="2682"/>
                          </a:lnTo>
                          <a:lnTo>
                            <a:pt x="1601" y="2676"/>
                          </a:lnTo>
                          <a:lnTo>
                            <a:pt x="1595" y="2675"/>
                          </a:lnTo>
                          <a:lnTo>
                            <a:pt x="1589" y="2676"/>
                          </a:lnTo>
                          <a:close/>
                          <a:moveTo>
                            <a:pt x="1495" y="2132"/>
                          </a:moveTo>
                          <a:lnTo>
                            <a:pt x="1506" y="2101"/>
                          </a:lnTo>
                          <a:lnTo>
                            <a:pt x="1509" y="2090"/>
                          </a:lnTo>
                          <a:lnTo>
                            <a:pt x="1501" y="2084"/>
                          </a:lnTo>
                          <a:lnTo>
                            <a:pt x="1488" y="2098"/>
                          </a:lnTo>
                          <a:lnTo>
                            <a:pt x="1477" y="2117"/>
                          </a:lnTo>
                          <a:lnTo>
                            <a:pt x="1478" y="2130"/>
                          </a:lnTo>
                          <a:lnTo>
                            <a:pt x="1488" y="2146"/>
                          </a:lnTo>
                          <a:lnTo>
                            <a:pt x="1495" y="2132"/>
                          </a:lnTo>
                          <a:close/>
                          <a:moveTo>
                            <a:pt x="1570" y="2323"/>
                          </a:moveTo>
                          <a:lnTo>
                            <a:pt x="1564" y="2316"/>
                          </a:lnTo>
                          <a:lnTo>
                            <a:pt x="1549" y="2316"/>
                          </a:lnTo>
                          <a:lnTo>
                            <a:pt x="1560" y="2329"/>
                          </a:lnTo>
                          <a:lnTo>
                            <a:pt x="1560" y="2336"/>
                          </a:lnTo>
                          <a:lnTo>
                            <a:pt x="1549" y="2335"/>
                          </a:lnTo>
                          <a:lnTo>
                            <a:pt x="1552" y="2346"/>
                          </a:lnTo>
                          <a:lnTo>
                            <a:pt x="1557" y="2346"/>
                          </a:lnTo>
                          <a:lnTo>
                            <a:pt x="1558" y="2358"/>
                          </a:lnTo>
                          <a:lnTo>
                            <a:pt x="1566" y="2355"/>
                          </a:lnTo>
                          <a:lnTo>
                            <a:pt x="1561" y="2344"/>
                          </a:lnTo>
                          <a:lnTo>
                            <a:pt x="1561" y="2338"/>
                          </a:lnTo>
                          <a:lnTo>
                            <a:pt x="1575" y="2342"/>
                          </a:lnTo>
                          <a:lnTo>
                            <a:pt x="1570" y="2323"/>
                          </a:lnTo>
                          <a:close/>
                          <a:moveTo>
                            <a:pt x="1535" y="2382"/>
                          </a:moveTo>
                          <a:lnTo>
                            <a:pt x="1526" y="2390"/>
                          </a:lnTo>
                          <a:lnTo>
                            <a:pt x="1515" y="2395"/>
                          </a:lnTo>
                          <a:lnTo>
                            <a:pt x="1508" y="2409"/>
                          </a:lnTo>
                          <a:lnTo>
                            <a:pt x="1511" y="2413"/>
                          </a:lnTo>
                          <a:lnTo>
                            <a:pt x="1524" y="2404"/>
                          </a:lnTo>
                          <a:lnTo>
                            <a:pt x="1532" y="2406"/>
                          </a:lnTo>
                          <a:lnTo>
                            <a:pt x="1537" y="2398"/>
                          </a:lnTo>
                          <a:lnTo>
                            <a:pt x="1547" y="2406"/>
                          </a:lnTo>
                          <a:lnTo>
                            <a:pt x="1543" y="2415"/>
                          </a:lnTo>
                          <a:lnTo>
                            <a:pt x="1547" y="2427"/>
                          </a:lnTo>
                          <a:lnTo>
                            <a:pt x="1567" y="2436"/>
                          </a:lnTo>
                          <a:lnTo>
                            <a:pt x="1574" y="2429"/>
                          </a:lnTo>
                          <a:lnTo>
                            <a:pt x="1567" y="2416"/>
                          </a:lnTo>
                          <a:lnTo>
                            <a:pt x="1575" y="2407"/>
                          </a:lnTo>
                          <a:lnTo>
                            <a:pt x="1581" y="2426"/>
                          </a:lnTo>
                          <a:lnTo>
                            <a:pt x="1587" y="2409"/>
                          </a:lnTo>
                          <a:lnTo>
                            <a:pt x="1586" y="2399"/>
                          </a:lnTo>
                          <a:lnTo>
                            <a:pt x="1584" y="2387"/>
                          </a:lnTo>
                          <a:lnTo>
                            <a:pt x="1583" y="2381"/>
                          </a:lnTo>
                          <a:lnTo>
                            <a:pt x="1583" y="2373"/>
                          </a:lnTo>
                          <a:lnTo>
                            <a:pt x="1567" y="2364"/>
                          </a:lnTo>
                          <a:lnTo>
                            <a:pt x="1569" y="2378"/>
                          </a:lnTo>
                          <a:lnTo>
                            <a:pt x="1557" y="2378"/>
                          </a:lnTo>
                          <a:lnTo>
                            <a:pt x="1554" y="2386"/>
                          </a:lnTo>
                          <a:lnTo>
                            <a:pt x="1541" y="2390"/>
                          </a:lnTo>
                          <a:lnTo>
                            <a:pt x="1535" y="2382"/>
                          </a:lnTo>
                          <a:close/>
                          <a:moveTo>
                            <a:pt x="1825" y="1755"/>
                          </a:moveTo>
                          <a:lnTo>
                            <a:pt x="1817" y="1771"/>
                          </a:lnTo>
                          <a:lnTo>
                            <a:pt x="1820" y="1795"/>
                          </a:lnTo>
                          <a:lnTo>
                            <a:pt x="1810" y="1823"/>
                          </a:lnTo>
                          <a:lnTo>
                            <a:pt x="1799" y="1831"/>
                          </a:lnTo>
                          <a:lnTo>
                            <a:pt x="1774" y="1852"/>
                          </a:lnTo>
                          <a:lnTo>
                            <a:pt x="1762" y="1843"/>
                          </a:lnTo>
                          <a:lnTo>
                            <a:pt x="1745" y="1880"/>
                          </a:lnTo>
                          <a:lnTo>
                            <a:pt x="1727" y="1875"/>
                          </a:lnTo>
                          <a:lnTo>
                            <a:pt x="1692" y="1883"/>
                          </a:lnTo>
                          <a:lnTo>
                            <a:pt x="1679" y="1897"/>
                          </a:lnTo>
                          <a:lnTo>
                            <a:pt x="1663" y="1907"/>
                          </a:lnTo>
                          <a:lnTo>
                            <a:pt x="1653" y="1920"/>
                          </a:lnTo>
                          <a:lnTo>
                            <a:pt x="1636" y="1926"/>
                          </a:lnTo>
                          <a:lnTo>
                            <a:pt x="1644" y="1941"/>
                          </a:lnTo>
                          <a:lnTo>
                            <a:pt x="1655" y="1946"/>
                          </a:lnTo>
                          <a:lnTo>
                            <a:pt x="1650" y="1964"/>
                          </a:lnTo>
                          <a:lnTo>
                            <a:pt x="1659" y="1972"/>
                          </a:lnTo>
                          <a:lnTo>
                            <a:pt x="1670" y="1964"/>
                          </a:lnTo>
                          <a:lnTo>
                            <a:pt x="1681" y="1929"/>
                          </a:lnTo>
                          <a:lnTo>
                            <a:pt x="1664" y="1915"/>
                          </a:lnTo>
                          <a:lnTo>
                            <a:pt x="1684" y="1914"/>
                          </a:lnTo>
                          <a:lnTo>
                            <a:pt x="1705" y="1904"/>
                          </a:lnTo>
                          <a:lnTo>
                            <a:pt x="1735" y="1900"/>
                          </a:lnTo>
                          <a:lnTo>
                            <a:pt x="1736" y="1915"/>
                          </a:lnTo>
                          <a:lnTo>
                            <a:pt x="1747" y="1923"/>
                          </a:lnTo>
                          <a:lnTo>
                            <a:pt x="1771" y="1900"/>
                          </a:lnTo>
                          <a:lnTo>
                            <a:pt x="1802" y="1898"/>
                          </a:lnTo>
                          <a:lnTo>
                            <a:pt x="1824" y="1889"/>
                          </a:lnTo>
                          <a:lnTo>
                            <a:pt x="1833" y="1874"/>
                          </a:lnTo>
                          <a:lnTo>
                            <a:pt x="1830" y="1863"/>
                          </a:lnTo>
                          <a:lnTo>
                            <a:pt x="1836" y="1846"/>
                          </a:lnTo>
                          <a:lnTo>
                            <a:pt x="1836" y="1823"/>
                          </a:lnTo>
                          <a:lnTo>
                            <a:pt x="1851" y="1801"/>
                          </a:lnTo>
                          <a:lnTo>
                            <a:pt x="1853" y="1783"/>
                          </a:lnTo>
                          <a:lnTo>
                            <a:pt x="1843" y="1752"/>
                          </a:lnTo>
                          <a:lnTo>
                            <a:pt x="1825" y="1755"/>
                          </a:lnTo>
                          <a:close/>
                          <a:moveTo>
                            <a:pt x="1847" y="1486"/>
                          </a:moveTo>
                          <a:lnTo>
                            <a:pt x="1857" y="1514"/>
                          </a:lnTo>
                          <a:lnTo>
                            <a:pt x="1856" y="1549"/>
                          </a:lnTo>
                          <a:lnTo>
                            <a:pt x="1853" y="1569"/>
                          </a:lnTo>
                          <a:lnTo>
                            <a:pt x="1854" y="1597"/>
                          </a:lnTo>
                          <a:lnTo>
                            <a:pt x="1853" y="1622"/>
                          </a:lnTo>
                          <a:lnTo>
                            <a:pt x="1856" y="1643"/>
                          </a:lnTo>
                          <a:lnTo>
                            <a:pt x="1867" y="1623"/>
                          </a:lnTo>
                          <a:lnTo>
                            <a:pt x="1880" y="1638"/>
                          </a:lnTo>
                          <a:lnTo>
                            <a:pt x="1880" y="1622"/>
                          </a:lnTo>
                          <a:lnTo>
                            <a:pt x="1863" y="1595"/>
                          </a:lnTo>
                          <a:lnTo>
                            <a:pt x="1874" y="1557"/>
                          </a:lnTo>
                          <a:lnTo>
                            <a:pt x="1899" y="1566"/>
                          </a:lnTo>
                          <a:lnTo>
                            <a:pt x="1882" y="1519"/>
                          </a:lnTo>
                          <a:lnTo>
                            <a:pt x="1874" y="1491"/>
                          </a:lnTo>
                          <a:lnTo>
                            <a:pt x="1876" y="1463"/>
                          </a:lnTo>
                          <a:lnTo>
                            <a:pt x="1870" y="1436"/>
                          </a:lnTo>
                          <a:lnTo>
                            <a:pt x="1865" y="1417"/>
                          </a:lnTo>
                          <a:lnTo>
                            <a:pt x="1857" y="1420"/>
                          </a:lnTo>
                          <a:lnTo>
                            <a:pt x="1863" y="1434"/>
                          </a:lnTo>
                          <a:lnTo>
                            <a:pt x="1848" y="1448"/>
                          </a:lnTo>
                          <a:lnTo>
                            <a:pt x="1847" y="1486"/>
                          </a:lnTo>
                          <a:close/>
                          <a:moveTo>
                            <a:pt x="1636" y="2581"/>
                          </a:moveTo>
                          <a:lnTo>
                            <a:pt x="1615" y="2581"/>
                          </a:lnTo>
                          <a:lnTo>
                            <a:pt x="1610" y="2590"/>
                          </a:lnTo>
                          <a:lnTo>
                            <a:pt x="1623" y="2592"/>
                          </a:lnTo>
                          <a:lnTo>
                            <a:pt x="1633" y="2590"/>
                          </a:lnTo>
                          <a:lnTo>
                            <a:pt x="1647" y="2592"/>
                          </a:lnTo>
                          <a:lnTo>
                            <a:pt x="1661" y="2599"/>
                          </a:lnTo>
                          <a:lnTo>
                            <a:pt x="1655" y="2585"/>
                          </a:lnTo>
                          <a:lnTo>
                            <a:pt x="1636" y="2581"/>
                          </a:lnTo>
                          <a:close/>
                          <a:moveTo>
                            <a:pt x="469" y="2089"/>
                          </a:moveTo>
                          <a:lnTo>
                            <a:pt x="437" y="2083"/>
                          </a:lnTo>
                          <a:lnTo>
                            <a:pt x="417" y="2078"/>
                          </a:lnTo>
                          <a:lnTo>
                            <a:pt x="399" y="2075"/>
                          </a:lnTo>
                          <a:lnTo>
                            <a:pt x="391" y="2052"/>
                          </a:lnTo>
                          <a:lnTo>
                            <a:pt x="383" y="2049"/>
                          </a:lnTo>
                          <a:lnTo>
                            <a:pt x="369" y="2052"/>
                          </a:lnTo>
                          <a:lnTo>
                            <a:pt x="353" y="2061"/>
                          </a:lnTo>
                          <a:lnTo>
                            <a:pt x="331" y="2055"/>
                          </a:lnTo>
                          <a:lnTo>
                            <a:pt x="314" y="2041"/>
                          </a:lnTo>
                          <a:lnTo>
                            <a:pt x="297" y="2035"/>
                          </a:lnTo>
                          <a:lnTo>
                            <a:pt x="285" y="2017"/>
                          </a:lnTo>
                          <a:lnTo>
                            <a:pt x="273" y="1990"/>
                          </a:lnTo>
                          <a:lnTo>
                            <a:pt x="264" y="1994"/>
                          </a:lnTo>
                          <a:lnTo>
                            <a:pt x="253" y="1987"/>
                          </a:lnTo>
                          <a:lnTo>
                            <a:pt x="247" y="1995"/>
                          </a:lnTo>
                          <a:lnTo>
                            <a:pt x="236" y="1994"/>
                          </a:lnTo>
                          <a:lnTo>
                            <a:pt x="239" y="2003"/>
                          </a:lnTo>
                          <a:lnTo>
                            <a:pt x="238" y="2007"/>
                          </a:lnTo>
                          <a:lnTo>
                            <a:pt x="244" y="2021"/>
                          </a:lnTo>
                          <a:lnTo>
                            <a:pt x="250" y="2038"/>
                          </a:lnTo>
                          <a:lnTo>
                            <a:pt x="259" y="2043"/>
                          </a:lnTo>
                          <a:lnTo>
                            <a:pt x="262" y="2049"/>
                          </a:lnTo>
                          <a:lnTo>
                            <a:pt x="273" y="2058"/>
                          </a:lnTo>
                          <a:lnTo>
                            <a:pt x="274" y="2066"/>
                          </a:lnTo>
                          <a:lnTo>
                            <a:pt x="273" y="2072"/>
                          </a:lnTo>
                          <a:lnTo>
                            <a:pt x="274" y="2078"/>
                          </a:lnTo>
                          <a:lnTo>
                            <a:pt x="281" y="2084"/>
                          </a:lnTo>
                          <a:lnTo>
                            <a:pt x="282" y="2090"/>
                          </a:lnTo>
                          <a:lnTo>
                            <a:pt x="285" y="2095"/>
                          </a:lnTo>
                          <a:lnTo>
                            <a:pt x="284" y="2081"/>
                          </a:lnTo>
                          <a:lnTo>
                            <a:pt x="288" y="2070"/>
                          </a:lnTo>
                          <a:lnTo>
                            <a:pt x="293" y="2069"/>
                          </a:lnTo>
                          <a:lnTo>
                            <a:pt x="299" y="2075"/>
                          </a:lnTo>
                          <a:lnTo>
                            <a:pt x="299" y="2086"/>
                          </a:lnTo>
                          <a:lnTo>
                            <a:pt x="294" y="2097"/>
                          </a:lnTo>
                          <a:lnTo>
                            <a:pt x="297" y="2104"/>
                          </a:lnTo>
                          <a:lnTo>
                            <a:pt x="300" y="2103"/>
                          </a:lnTo>
                          <a:lnTo>
                            <a:pt x="302" y="2109"/>
                          </a:lnTo>
                          <a:lnTo>
                            <a:pt x="316" y="2106"/>
                          </a:lnTo>
                          <a:lnTo>
                            <a:pt x="330" y="2106"/>
                          </a:lnTo>
                          <a:lnTo>
                            <a:pt x="340" y="2106"/>
                          </a:lnTo>
                          <a:lnTo>
                            <a:pt x="351" y="2093"/>
                          </a:lnTo>
                          <a:lnTo>
                            <a:pt x="365" y="2081"/>
                          </a:lnTo>
                          <a:lnTo>
                            <a:pt x="376" y="2070"/>
                          </a:lnTo>
                          <a:lnTo>
                            <a:pt x="380" y="2063"/>
                          </a:lnTo>
                          <a:lnTo>
                            <a:pt x="383" y="2064"/>
                          </a:lnTo>
                          <a:lnTo>
                            <a:pt x="380" y="2073"/>
                          </a:lnTo>
                          <a:lnTo>
                            <a:pt x="379" y="2077"/>
                          </a:lnTo>
                          <a:lnTo>
                            <a:pt x="382" y="2092"/>
                          </a:lnTo>
                          <a:lnTo>
                            <a:pt x="389" y="2104"/>
                          </a:lnTo>
                          <a:lnTo>
                            <a:pt x="399" y="2110"/>
                          </a:lnTo>
                          <a:lnTo>
                            <a:pt x="411" y="2113"/>
                          </a:lnTo>
                          <a:lnTo>
                            <a:pt x="422" y="2117"/>
                          </a:lnTo>
                          <a:lnTo>
                            <a:pt x="429" y="2127"/>
                          </a:lnTo>
                          <a:lnTo>
                            <a:pt x="434" y="2133"/>
                          </a:lnTo>
                          <a:lnTo>
                            <a:pt x="440" y="2137"/>
                          </a:lnTo>
                          <a:lnTo>
                            <a:pt x="440" y="2140"/>
                          </a:lnTo>
                          <a:lnTo>
                            <a:pt x="434" y="2152"/>
                          </a:lnTo>
                          <a:lnTo>
                            <a:pt x="431" y="2156"/>
                          </a:lnTo>
                          <a:lnTo>
                            <a:pt x="423" y="2163"/>
                          </a:lnTo>
                          <a:lnTo>
                            <a:pt x="417" y="2175"/>
                          </a:lnTo>
                          <a:lnTo>
                            <a:pt x="409" y="2173"/>
                          </a:lnTo>
                          <a:lnTo>
                            <a:pt x="406" y="2178"/>
                          </a:lnTo>
                          <a:lnTo>
                            <a:pt x="403" y="2187"/>
                          </a:lnTo>
                          <a:lnTo>
                            <a:pt x="405" y="2200"/>
                          </a:lnTo>
                          <a:lnTo>
                            <a:pt x="403" y="2201"/>
                          </a:lnTo>
                          <a:lnTo>
                            <a:pt x="396" y="2201"/>
                          </a:lnTo>
                          <a:lnTo>
                            <a:pt x="385" y="2209"/>
                          </a:lnTo>
                          <a:lnTo>
                            <a:pt x="383" y="2218"/>
                          </a:lnTo>
                          <a:lnTo>
                            <a:pt x="379" y="2221"/>
                          </a:lnTo>
                          <a:lnTo>
                            <a:pt x="368" y="2221"/>
                          </a:lnTo>
                          <a:lnTo>
                            <a:pt x="362" y="2226"/>
                          </a:lnTo>
                          <a:lnTo>
                            <a:pt x="362" y="2233"/>
                          </a:lnTo>
                          <a:lnTo>
                            <a:pt x="354" y="2238"/>
                          </a:lnTo>
                          <a:lnTo>
                            <a:pt x="343" y="2236"/>
                          </a:lnTo>
                          <a:lnTo>
                            <a:pt x="333" y="2243"/>
                          </a:lnTo>
                          <a:lnTo>
                            <a:pt x="325" y="2243"/>
                          </a:lnTo>
                          <a:lnTo>
                            <a:pt x="313" y="2247"/>
                          </a:lnTo>
                          <a:lnTo>
                            <a:pt x="308" y="2256"/>
                          </a:lnTo>
                          <a:lnTo>
                            <a:pt x="308" y="2263"/>
                          </a:lnTo>
                          <a:lnTo>
                            <a:pt x="291" y="2269"/>
                          </a:lnTo>
                          <a:lnTo>
                            <a:pt x="264" y="2278"/>
                          </a:lnTo>
                          <a:lnTo>
                            <a:pt x="248" y="2290"/>
                          </a:lnTo>
                          <a:lnTo>
                            <a:pt x="241" y="2292"/>
                          </a:lnTo>
                          <a:lnTo>
                            <a:pt x="236" y="2290"/>
                          </a:lnTo>
                          <a:lnTo>
                            <a:pt x="225" y="2298"/>
                          </a:lnTo>
                          <a:lnTo>
                            <a:pt x="215" y="2301"/>
                          </a:lnTo>
                          <a:lnTo>
                            <a:pt x="201" y="2301"/>
                          </a:lnTo>
                          <a:lnTo>
                            <a:pt x="196" y="2303"/>
                          </a:lnTo>
                          <a:lnTo>
                            <a:pt x="192" y="2307"/>
                          </a:lnTo>
                          <a:lnTo>
                            <a:pt x="187" y="2309"/>
                          </a:lnTo>
                          <a:lnTo>
                            <a:pt x="185" y="2313"/>
                          </a:lnTo>
                          <a:lnTo>
                            <a:pt x="176" y="2313"/>
                          </a:lnTo>
                          <a:lnTo>
                            <a:pt x="170" y="2315"/>
                          </a:lnTo>
                          <a:lnTo>
                            <a:pt x="159" y="2315"/>
                          </a:lnTo>
                          <a:lnTo>
                            <a:pt x="155" y="2304"/>
                          </a:lnTo>
                          <a:lnTo>
                            <a:pt x="155" y="2295"/>
                          </a:lnTo>
                          <a:lnTo>
                            <a:pt x="152" y="2289"/>
                          </a:lnTo>
                          <a:lnTo>
                            <a:pt x="149" y="2276"/>
                          </a:lnTo>
                          <a:lnTo>
                            <a:pt x="144" y="2269"/>
                          </a:lnTo>
                          <a:lnTo>
                            <a:pt x="147" y="2267"/>
                          </a:lnTo>
                          <a:lnTo>
                            <a:pt x="146" y="2259"/>
                          </a:lnTo>
                          <a:lnTo>
                            <a:pt x="147" y="2256"/>
                          </a:lnTo>
                          <a:lnTo>
                            <a:pt x="147" y="2249"/>
                          </a:lnTo>
                          <a:lnTo>
                            <a:pt x="144" y="2241"/>
                          </a:lnTo>
                          <a:lnTo>
                            <a:pt x="139" y="2235"/>
                          </a:lnTo>
                          <a:lnTo>
                            <a:pt x="138" y="2229"/>
                          </a:lnTo>
                          <a:lnTo>
                            <a:pt x="129" y="2223"/>
                          </a:lnTo>
                          <a:lnTo>
                            <a:pt x="119" y="2207"/>
                          </a:lnTo>
                          <a:lnTo>
                            <a:pt x="115" y="2192"/>
                          </a:lnTo>
                          <a:lnTo>
                            <a:pt x="103" y="2180"/>
                          </a:lnTo>
                          <a:lnTo>
                            <a:pt x="95" y="2176"/>
                          </a:lnTo>
                          <a:lnTo>
                            <a:pt x="84" y="2160"/>
                          </a:lnTo>
                          <a:lnTo>
                            <a:pt x="83" y="2146"/>
                          </a:lnTo>
                          <a:lnTo>
                            <a:pt x="83" y="2135"/>
                          </a:lnTo>
                          <a:lnTo>
                            <a:pt x="73" y="2115"/>
                          </a:lnTo>
                          <a:lnTo>
                            <a:pt x="64" y="2107"/>
                          </a:lnTo>
                          <a:lnTo>
                            <a:pt x="55" y="2103"/>
                          </a:lnTo>
                          <a:lnTo>
                            <a:pt x="50" y="2092"/>
                          </a:lnTo>
                          <a:lnTo>
                            <a:pt x="50" y="2089"/>
                          </a:lnTo>
                          <a:lnTo>
                            <a:pt x="46" y="2078"/>
                          </a:lnTo>
                          <a:lnTo>
                            <a:pt x="41" y="2073"/>
                          </a:lnTo>
                          <a:lnTo>
                            <a:pt x="35" y="2060"/>
                          </a:lnTo>
                          <a:lnTo>
                            <a:pt x="24" y="2044"/>
                          </a:lnTo>
                          <a:lnTo>
                            <a:pt x="15" y="2030"/>
                          </a:lnTo>
                          <a:lnTo>
                            <a:pt x="6" y="2030"/>
                          </a:lnTo>
                          <a:lnTo>
                            <a:pt x="9" y="2021"/>
                          </a:lnTo>
                          <a:lnTo>
                            <a:pt x="11" y="2014"/>
                          </a:lnTo>
                          <a:lnTo>
                            <a:pt x="12" y="2006"/>
                          </a:lnTo>
                          <a:lnTo>
                            <a:pt x="12" y="2003"/>
                          </a:lnTo>
                          <a:lnTo>
                            <a:pt x="0" y="1969"/>
                          </a:lnTo>
                          <a:lnTo>
                            <a:pt x="6" y="1963"/>
                          </a:lnTo>
                          <a:lnTo>
                            <a:pt x="4" y="1961"/>
                          </a:lnTo>
                          <a:lnTo>
                            <a:pt x="9" y="1952"/>
                          </a:lnTo>
                          <a:lnTo>
                            <a:pt x="12" y="1937"/>
                          </a:lnTo>
                          <a:lnTo>
                            <a:pt x="15" y="1931"/>
                          </a:lnTo>
                          <a:lnTo>
                            <a:pt x="15" y="1931"/>
                          </a:lnTo>
                          <a:lnTo>
                            <a:pt x="21" y="1914"/>
                          </a:lnTo>
                          <a:lnTo>
                            <a:pt x="30" y="1900"/>
                          </a:lnTo>
                          <a:lnTo>
                            <a:pt x="30" y="1898"/>
                          </a:lnTo>
                          <a:lnTo>
                            <a:pt x="29" y="1883"/>
                          </a:lnTo>
                          <a:lnTo>
                            <a:pt x="32" y="1874"/>
                          </a:lnTo>
                          <a:lnTo>
                            <a:pt x="37" y="1869"/>
                          </a:lnTo>
                          <a:lnTo>
                            <a:pt x="41" y="1864"/>
                          </a:lnTo>
                          <a:lnTo>
                            <a:pt x="43" y="1852"/>
                          </a:lnTo>
                          <a:lnTo>
                            <a:pt x="49" y="1857"/>
                          </a:lnTo>
                          <a:lnTo>
                            <a:pt x="67" y="1851"/>
                          </a:lnTo>
                          <a:lnTo>
                            <a:pt x="77" y="1855"/>
                          </a:lnTo>
                          <a:lnTo>
                            <a:pt x="90" y="1855"/>
                          </a:lnTo>
                          <a:lnTo>
                            <a:pt x="110" y="1848"/>
                          </a:lnTo>
                          <a:lnTo>
                            <a:pt x="119" y="1848"/>
                          </a:lnTo>
                          <a:lnTo>
                            <a:pt x="139" y="1844"/>
                          </a:lnTo>
                          <a:lnTo>
                            <a:pt x="147" y="1840"/>
                          </a:lnTo>
                          <a:lnTo>
                            <a:pt x="167" y="1843"/>
                          </a:lnTo>
                          <a:lnTo>
                            <a:pt x="173" y="1849"/>
                          </a:lnTo>
                          <a:lnTo>
                            <a:pt x="181" y="1846"/>
                          </a:lnTo>
                          <a:lnTo>
                            <a:pt x="172" y="1828"/>
                          </a:lnTo>
                          <a:lnTo>
                            <a:pt x="175" y="1821"/>
                          </a:lnTo>
                          <a:lnTo>
                            <a:pt x="170" y="1795"/>
                          </a:lnTo>
                          <a:lnTo>
                            <a:pt x="181" y="1789"/>
                          </a:lnTo>
                          <a:lnTo>
                            <a:pt x="184" y="1798"/>
                          </a:lnTo>
                          <a:lnTo>
                            <a:pt x="193" y="1808"/>
                          </a:lnTo>
                          <a:lnTo>
                            <a:pt x="205" y="1811"/>
                          </a:lnTo>
                          <a:lnTo>
                            <a:pt x="211" y="1811"/>
                          </a:lnTo>
                          <a:lnTo>
                            <a:pt x="231" y="1794"/>
                          </a:lnTo>
                          <a:lnTo>
                            <a:pt x="238" y="1792"/>
                          </a:lnTo>
                          <a:lnTo>
                            <a:pt x="242" y="1798"/>
                          </a:lnTo>
                          <a:lnTo>
                            <a:pt x="236" y="1811"/>
                          </a:lnTo>
                          <a:lnTo>
                            <a:pt x="247" y="1821"/>
                          </a:lnTo>
                          <a:lnTo>
                            <a:pt x="251" y="1820"/>
                          </a:lnTo>
                          <a:lnTo>
                            <a:pt x="258" y="1837"/>
                          </a:lnTo>
                          <a:lnTo>
                            <a:pt x="273" y="1841"/>
                          </a:lnTo>
                          <a:lnTo>
                            <a:pt x="285" y="1852"/>
                          </a:lnTo>
                          <a:lnTo>
                            <a:pt x="310" y="1855"/>
                          </a:lnTo>
                          <a:lnTo>
                            <a:pt x="337" y="1849"/>
                          </a:lnTo>
                          <a:lnTo>
                            <a:pt x="339" y="1844"/>
                          </a:lnTo>
                          <a:lnTo>
                            <a:pt x="339" y="1844"/>
                          </a:lnTo>
                          <a:lnTo>
                            <a:pt x="336" y="1829"/>
                          </a:lnTo>
                          <a:lnTo>
                            <a:pt x="339" y="1806"/>
                          </a:lnTo>
                          <a:lnTo>
                            <a:pt x="325" y="1798"/>
                          </a:lnTo>
                          <a:lnTo>
                            <a:pt x="330" y="1783"/>
                          </a:lnTo>
                          <a:lnTo>
                            <a:pt x="317" y="1783"/>
                          </a:lnTo>
                          <a:lnTo>
                            <a:pt x="322" y="1763"/>
                          </a:lnTo>
                          <a:lnTo>
                            <a:pt x="337" y="1769"/>
                          </a:lnTo>
                          <a:lnTo>
                            <a:pt x="353" y="1761"/>
                          </a:lnTo>
                          <a:lnTo>
                            <a:pt x="340" y="1748"/>
                          </a:lnTo>
                          <a:lnTo>
                            <a:pt x="336" y="1735"/>
                          </a:lnTo>
                          <a:lnTo>
                            <a:pt x="322" y="1740"/>
                          </a:lnTo>
                          <a:lnTo>
                            <a:pt x="320" y="1757"/>
                          </a:lnTo>
                          <a:lnTo>
                            <a:pt x="314" y="1743"/>
                          </a:lnTo>
                          <a:lnTo>
                            <a:pt x="313" y="1737"/>
                          </a:lnTo>
                          <a:lnTo>
                            <a:pt x="317" y="1728"/>
                          </a:lnTo>
                          <a:lnTo>
                            <a:pt x="314" y="1718"/>
                          </a:lnTo>
                          <a:lnTo>
                            <a:pt x="294" y="1711"/>
                          </a:lnTo>
                          <a:lnTo>
                            <a:pt x="287" y="1689"/>
                          </a:lnTo>
                          <a:lnTo>
                            <a:pt x="277" y="1683"/>
                          </a:lnTo>
                          <a:lnTo>
                            <a:pt x="276" y="1675"/>
                          </a:lnTo>
                          <a:lnTo>
                            <a:pt x="293" y="1678"/>
                          </a:lnTo>
                          <a:lnTo>
                            <a:pt x="294" y="1660"/>
                          </a:lnTo>
                          <a:lnTo>
                            <a:pt x="308" y="1657"/>
                          </a:lnTo>
                          <a:lnTo>
                            <a:pt x="323" y="1660"/>
                          </a:lnTo>
                          <a:lnTo>
                            <a:pt x="327" y="1635"/>
                          </a:lnTo>
                          <a:lnTo>
                            <a:pt x="323" y="1620"/>
                          </a:lnTo>
                          <a:lnTo>
                            <a:pt x="307" y="1622"/>
                          </a:lnTo>
                          <a:lnTo>
                            <a:pt x="291" y="1615"/>
                          </a:lnTo>
                          <a:lnTo>
                            <a:pt x="271" y="1626"/>
                          </a:lnTo>
                          <a:lnTo>
                            <a:pt x="256" y="1632"/>
                          </a:lnTo>
                          <a:lnTo>
                            <a:pt x="247" y="1628"/>
                          </a:lnTo>
                          <a:lnTo>
                            <a:pt x="248" y="1615"/>
                          </a:lnTo>
                          <a:lnTo>
                            <a:pt x="238" y="1598"/>
                          </a:lnTo>
                          <a:lnTo>
                            <a:pt x="225" y="1598"/>
                          </a:lnTo>
                          <a:lnTo>
                            <a:pt x="210" y="1582"/>
                          </a:lnTo>
                          <a:lnTo>
                            <a:pt x="221" y="1562"/>
                          </a:lnTo>
                          <a:lnTo>
                            <a:pt x="216" y="1557"/>
                          </a:lnTo>
                          <a:lnTo>
                            <a:pt x="228" y="1526"/>
                          </a:lnTo>
                          <a:lnTo>
                            <a:pt x="247" y="1543"/>
                          </a:lnTo>
                          <a:lnTo>
                            <a:pt x="248" y="1523"/>
                          </a:lnTo>
                          <a:lnTo>
                            <a:pt x="285" y="1492"/>
                          </a:lnTo>
                          <a:lnTo>
                            <a:pt x="311" y="1492"/>
                          </a:lnTo>
                          <a:lnTo>
                            <a:pt x="350" y="1511"/>
                          </a:lnTo>
                          <a:lnTo>
                            <a:pt x="369" y="1522"/>
                          </a:lnTo>
                          <a:lnTo>
                            <a:pt x="388" y="1511"/>
                          </a:lnTo>
                          <a:lnTo>
                            <a:pt x="415" y="1511"/>
                          </a:lnTo>
                          <a:lnTo>
                            <a:pt x="437" y="1525"/>
                          </a:lnTo>
                          <a:lnTo>
                            <a:pt x="442" y="1517"/>
                          </a:lnTo>
                          <a:lnTo>
                            <a:pt x="466" y="1517"/>
                          </a:lnTo>
                          <a:lnTo>
                            <a:pt x="471" y="1505"/>
                          </a:lnTo>
                          <a:lnTo>
                            <a:pt x="443" y="1485"/>
                          </a:lnTo>
                          <a:lnTo>
                            <a:pt x="445" y="1483"/>
                          </a:lnTo>
                          <a:lnTo>
                            <a:pt x="443" y="1483"/>
                          </a:lnTo>
                          <a:lnTo>
                            <a:pt x="438" y="1471"/>
                          </a:lnTo>
                          <a:lnTo>
                            <a:pt x="426" y="1468"/>
                          </a:lnTo>
                          <a:lnTo>
                            <a:pt x="426" y="1451"/>
                          </a:lnTo>
                          <a:lnTo>
                            <a:pt x="432" y="1437"/>
                          </a:lnTo>
                          <a:lnTo>
                            <a:pt x="442" y="1429"/>
                          </a:lnTo>
                          <a:lnTo>
                            <a:pt x="437" y="1419"/>
                          </a:lnTo>
                          <a:lnTo>
                            <a:pt x="425" y="1411"/>
                          </a:lnTo>
                          <a:lnTo>
                            <a:pt x="414" y="1419"/>
                          </a:lnTo>
                          <a:lnTo>
                            <a:pt x="402" y="1428"/>
                          </a:lnTo>
                          <a:lnTo>
                            <a:pt x="391" y="1414"/>
                          </a:lnTo>
                          <a:lnTo>
                            <a:pt x="383" y="1402"/>
                          </a:lnTo>
                          <a:lnTo>
                            <a:pt x="376" y="1388"/>
                          </a:lnTo>
                          <a:lnTo>
                            <a:pt x="396" y="1385"/>
                          </a:lnTo>
                          <a:lnTo>
                            <a:pt x="411" y="1380"/>
                          </a:lnTo>
                          <a:lnTo>
                            <a:pt x="420" y="1365"/>
                          </a:lnTo>
                          <a:lnTo>
                            <a:pt x="419" y="1351"/>
                          </a:lnTo>
                          <a:lnTo>
                            <a:pt x="406" y="1340"/>
                          </a:lnTo>
                          <a:lnTo>
                            <a:pt x="409" y="1325"/>
                          </a:lnTo>
                          <a:lnTo>
                            <a:pt x="423" y="1309"/>
                          </a:lnTo>
                          <a:lnTo>
                            <a:pt x="434" y="1286"/>
                          </a:lnTo>
                          <a:lnTo>
                            <a:pt x="445" y="1256"/>
                          </a:lnTo>
                          <a:lnTo>
                            <a:pt x="452" y="1202"/>
                          </a:lnTo>
                          <a:lnTo>
                            <a:pt x="465" y="1079"/>
                          </a:lnTo>
                          <a:lnTo>
                            <a:pt x="497" y="1054"/>
                          </a:lnTo>
                          <a:lnTo>
                            <a:pt x="526" y="1020"/>
                          </a:lnTo>
                          <a:lnTo>
                            <a:pt x="550" y="1002"/>
                          </a:lnTo>
                          <a:lnTo>
                            <a:pt x="573" y="977"/>
                          </a:lnTo>
                          <a:lnTo>
                            <a:pt x="586" y="953"/>
                          </a:lnTo>
                          <a:lnTo>
                            <a:pt x="580" y="908"/>
                          </a:lnTo>
                          <a:lnTo>
                            <a:pt x="590" y="916"/>
                          </a:lnTo>
                          <a:lnTo>
                            <a:pt x="601" y="891"/>
                          </a:lnTo>
                          <a:lnTo>
                            <a:pt x="584" y="867"/>
                          </a:lnTo>
                          <a:lnTo>
                            <a:pt x="583" y="856"/>
                          </a:lnTo>
                          <a:lnTo>
                            <a:pt x="563" y="851"/>
                          </a:lnTo>
                          <a:lnTo>
                            <a:pt x="569" y="828"/>
                          </a:lnTo>
                          <a:lnTo>
                            <a:pt x="560" y="788"/>
                          </a:lnTo>
                          <a:lnTo>
                            <a:pt x="558" y="771"/>
                          </a:lnTo>
                          <a:lnTo>
                            <a:pt x="590" y="722"/>
                          </a:lnTo>
                          <a:lnTo>
                            <a:pt x="601" y="670"/>
                          </a:lnTo>
                          <a:lnTo>
                            <a:pt x="615" y="659"/>
                          </a:lnTo>
                          <a:lnTo>
                            <a:pt x="659" y="675"/>
                          </a:lnTo>
                          <a:lnTo>
                            <a:pt x="664" y="705"/>
                          </a:lnTo>
                          <a:lnTo>
                            <a:pt x="647" y="751"/>
                          </a:lnTo>
                          <a:lnTo>
                            <a:pt x="658" y="768"/>
                          </a:lnTo>
                          <a:lnTo>
                            <a:pt x="664" y="804"/>
                          </a:lnTo>
                          <a:lnTo>
                            <a:pt x="659" y="873"/>
                          </a:lnTo>
                          <a:lnTo>
                            <a:pt x="678" y="902"/>
                          </a:lnTo>
                          <a:lnTo>
                            <a:pt x="672" y="933"/>
                          </a:lnTo>
                          <a:lnTo>
                            <a:pt x="638" y="994"/>
                          </a:lnTo>
                          <a:lnTo>
                            <a:pt x="656" y="1002"/>
                          </a:lnTo>
                          <a:lnTo>
                            <a:pt x="664" y="985"/>
                          </a:lnTo>
                          <a:lnTo>
                            <a:pt x="682" y="974"/>
                          </a:lnTo>
                          <a:lnTo>
                            <a:pt x="687" y="953"/>
                          </a:lnTo>
                          <a:lnTo>
                            <a:pt x="702" y="931"/>
                          </a:lnTo>
                          <a:lnTo>
                            <a:pt x="692" y="905"/>
                          </a:lnTo>
                          <a:lnTo>
                            <a:pt x="701" y="874"/>
                          </a:lnTo>
                          <a:lnTo>
                            <a:pt x="681" y="870"/>
                          </a:lnTo>
                          <a:lnTo>
                            <a:pt x="678" y="842"/>
                          </a:lnTo>
                          <a:lnTo>
                            <a:pt x="692" y="791"/>
                          </a:lnTo>
                          <a:lnTo>
                            <a:pt x="669" y="748"/>
                          </a:lnTo>
                          <a:lnTo>
                            <a:pt x="699" y="711"/>
                          </a:lnTo>
                          <a:lnTo>
                            <a:pt x="696" y="672"/>
                          </a:lnTo>
                          <a:lnTo>
                            <a:pt x="704" y="670"/>
                          </a:lnTo>
                          <a:lnTo>
                            <a:pt x="713" y="701"/>
                          </a:lnTo>
                          <a:lnTo>
                            <a:pt x="707" y="755"/>
                          </a:lnTo>
                          <a:lnTo>
                            <a:pt x="725" y="764"/>
                          </a:lnTo>
                          <a:lnTo>
                            <a:pt x="716" y="725"/>
                          </a:lnTo>
                          <a:lnTo>
                            <a:pt x="745" y="704"/>
                          </a:lnTo>
                          <a:lnTo>
                            <a:pt x="781" y="701"/>
                          </a:lnTo>
                          <a:lnTo>
                            <a:pt x="813" y="731"/>
                          </a:lnTo>
                          <a:lnTo>
                            <a:pt x="797" y="685"/>
                          </a:lnTo>
                          <a:lnTo>
                            <a:pt x="796" y="622"/>
                          </a:lnTo>
                          <a:lnTo>
                            <a:pt x="827" y="610"/>
                          </a:lnTo>
                          <a:lnTo>
                            <a:pt x="868" y="613"/>
                          </a:lnTo>
                          <a:lnTo>
                            <a:pt x="905" y="604"/>
                          </a:lnTo>
                          <a:lnTo>
                            <a:pt x="891" y="572"/>
                          </a:lnTo>
                          <a:lnTo>
                            <a:pt x="911" y="529"/>
                          </a:lnTo>
                          <a:lnTo>
                            <a:pt x="931" y="525"/>
                          </a:lnTo>
                          <a:lnTo>
                            <a:pt x="963" y="492"/>
                          </a:lnTo>
                          <a:lnTo>
                            <a:pt x="1009" y="482"/>
                          </a:lnTo>
                          <a:lnTo>
                            <a:pt x="1015" y="464"/>
                          </a:lnTo>
                          <a:lnTo>
                            <a:pt x="1060" y="456"/>
                          </a:lnTo>
                          <a:lnTo>
                            <a:pt x="1074" y="473"/>
                          </a:lnTo>
                          <a:lnTo>
                            <a:pt x="1113" y="435"/>
                          </a:lnTo>
                          <a:lnTo>
                            <a:pt x="1144" y="436"/>
                          </a:lnTo>
                          <a:lnTo>
                            <a:pt x="1149" y="404"/>
                          </a:lnTo>
                          <a:lnTo>
                            <a:pt x="1166" y="370"/>
                          </a:lnTo>
                          <a:lnTo>
                            <a:pt x="1205" y="338"/>
                          </a:lnTo>
                          <a:lnTo>
                            <a:pt x="1236" y="364"/>
                          </a:lnTo>
                          <a:lnTo>
                            <a:pt x="1212" y="384"/>
                          </a:lnTo>
                          <a:lnTo>
                            <a:pt x="1251" y="395"/>
                          </a:lnTo>
                          <a:lnTo>
                            <a:pt x="1256" y="432"/>
                          </a:lnTo>
                          <a:lnTo>
                            <a:pt x="1271" y="415"/>
                          </a:lnTo>
                          <a:lnTo>
                            <a:pt x="1322" y="415"/>
                          </a:lnTo>
                          <a:lnTo>
                            <a:pt x="1360" y="452"/>
                          </a:lnTo>
                          <a:lnTo>
                            <a:pt x="1374" y="478"/>
                          </a:lnTo>
                          <a:lnTo>
                            <a:pt x="1370" y="513"/>
                          </a:lnTo>
                          <a:lnTo>
                            <a:pt x="1351" y="533"/>
                          </a:lnTo>
                          <a:lnTo>
                            <a:pt x="1307" y="570"/>
                          </a:lnTo>
                          <a:lnTo>
                            <a:pt x="1293" y="588"/>
                          </a:lnTo>
                          <a:lnTo>
                            <a:pt x="1314" y="598"/>
                          </a:lnTo>
                          <a:lnTo>
                            <a:pt x="1340" y="613"/>
                          </a:lnTo>
                          <a:lnTo>
                            <a:pt x="1356" y="602"/>
                          </a:lnTo>
                          <a:lnTo>
                            <a:pt x="1363" y="641"/>
                          </a:lnTo>
                          <a:lnTo>
                            <a:pt x="1371" y="625"/>
                          </a:lnTo>
                          <a:lnTo>
                            <a:pt x="1399" y="616"/>
                          </a:lnTo>
                          <a:lnTo>
                            <a:pt x="1454" y="625"/>
                          </a:lnTo>
                          <a:lnTo>
                            <a:pt x="1459" y="655"/>
                          </a:lnTo>
                          <a:lnTo>
                            <a:pt x="1531" y="662"/>
                          </a:lnTo>
                          <a:lnTo>
                            <a:pt x="1531" y="616"/>
                          </a:lnTo>
                          <a:lnTo>
                            <a:pt x="1567" y="627"/>
                          </a:lnTo>
                          <a:lnTo>
                            <a:pt x="1595" y="627"/>
                          </a:lnTo>
                          <a:lnTo>
                            <a:pt x="1623" y="659"/>
                          </a:lnTo>
                          <a:lnTo>
                            <a:pt x="1630" y="696"/>
                          </a:lnTo>
                          <a:lnTo>
                            <a:pt x="1621" y="719"/>
                          </a:lnTo>
                          <a:lnTo>
                            <a:pt x="1643" y="762"/>
                          </a:lnTo>
                          <a:lnTo>
                            <a:pt x="1670" y="784"/>
                          </a:lnTo>
                          <a:lnTo>
                            <a:pt x="1686" y="727"/>
                          </a:lnTo>
                          <a:lnTo>
                            <a:pt x="1713" y="751"/>
                          </a:lnTo>
                          <a:lnTo>
                            <a:pt x="1744" y="738"/>
                          </a:lnTo>
                          <a:lnTo>
                            <a:pt x="1776" y="755"/>
                          </a:lnTo>
                          <a:lnTo>
                            <a:pt x="1790" y="739"/>
                          </a:lnTo>
                          <a:lnTo>
                            <a:pt x="1817" y="747"/>
                          </a:lnTo>
                          <a:lnTo>
                            <a:pt x="1805" y="695"/>
                          </a:lnTo>
                          <a:lnTo>
                            <a:pt x="1828" y="670"/>
                          </a:lnTo>
                          <a:lnTo>
                            <a:pt x="1983" y="707"/>
                          </a:lnTo>
                          <a:lnTo>
                            <a:pt x="1997" y="741"/>
                          </a:lnTo>
                          <a:lnTo>
                            <a:pt x="2043" y="781"/>
                          </a:lnTo>
                          <a:lnTo>
                            <a:pt x="2112" y="771"/>
                          </a:lnTo>
                          <a:lnTo>
                            <a:pt x="2146" y="779"/>
                          </a:lnTo>
                          <a:lnTo>
                            <a:pt x="2161" y="801"/>
                          </a:lnTo>
                          <a:lnTo>
                            <a:pt x="2158" y="838"/>
                          </a:lnTo>
                          <a:lnTo>
                            <a:pt x="2179" y="853"/>
                          </a:lnTo>
                          <a:lnTo>
                            <a:pt x="2202" y="842"/>
                          </a:lnTo>
                          <a:lnTo>
                            <a:pt x="2233" y="841"/>
                          </a:lnTo>
                          <a:lnTo>
                            <a:pt x="2265" y="851"/>
                          </a:lnTo>
                          <a:lnTo>
                            <a:pt x="2298" y="845"/>
                          </a:lnTo>
                          <a:lnTo>
                            <a:pt x="2328" y="888"/>
                          </a:lnTo>
                          <a:lnTo>
                            <a:pt x="2350" y="873"/>
                          </a:lnTo>
                          <a:lnTo>
                            <a:pt x="2336" y="842"/>
                          </a:lnTo>
                          <a:lnTo>
                            <a:pt x="2344" y="819"/>
                          </a:lnTo>
                          <a:lnTo>
                            <a:pt x="2399" y="833"/>
                          </a:lnTo>
                          <a:lnTo>
                            <a:pt x="2434" y="830"/>
                          </a:lnTo>
                          <a:lnTo>
                            <a:pt x="2483" y="854"/>
                          </a:lnTo>
                          <a:lnTo>
                            <a:pt x="2508" y="876"/>
                          </a:lnTo>
                          <a:lnTo>
                            <a:pt x="2549" y="911"/>
                          </a:lnTo>
                          <a:lnTo>
                            <a:pt x="2595" y="956"/>
                          </a:lnTo>
                          <a:lnTo>
                            <a:pt x="2594" y="984"/>
                          </a:lnTo>
                          <a:lnTo>
                            <a:pt x="2604" y="994"/>
                          </a:lnTo>
                          <a:lnTo>
                            <a:pt x="2601" y="962"/>
                          </a:lnTo>
                          <a:lnTo>
                            <a:pt x="2647" y="970"/>
                          </a:lnTo>
                          <a:lnTo>
                            <a:pt x="2683" y="1010"/>
                          </a:lnTo>
                          <a:lnTo>
                            <a:pt x="2666" y="1028"/>
                          </a:lnTo>
                          <a:lnTo>
                            <a:pt x="2636" y="1033"/>
                          </a:lnTo>
                          <a:lnTo>
                            <a:pt x="2636" y="1073"/>
                          </a:lnTo>
                          <a:lnTo>
                            <a:pt x="2630" y="1080"/>
                          </a:lnTo>
                          <a:lnTo>
                            <a:pt x="2613" y="1079"/>
                          </a:lnTo>
                          <a:lnTo>
                            <a:pt x="2600" y="1065"/>
                          </a:lnTo>
                          <a:lnTo>
                            <a:pt x="2578" y="1054"/>
                          </a:lnTo>
                          <a:lnTo>
                            <a:pt x="2574" y="1036"/>
                          </a:lnTo>
                          <a:lnTo>
                            <a:pt x="2557" y="1030"/>
                          </a:lnTo>
                          <a:lnTo>
                            <a:pt x="2537" y="1034"/>
                          </a:lnTo>
                          <a:lnTo>
                            <a:pt x="2528" y="1020"/>
                          </a:lnTo>
                          <a:lnTo>
                            <a:pt x="2531" y="1004"/>
                          </a:lnTo>
                          <a:lnTo>
                            <a:pt x="2511" y="1014"/>
                          </a:lnTo>
                          <a:lnTo>
                            <a:pt x="2518" y="1034"/>
                          </a:lnTo>
                          <a:lnTo>
                            <a:pt x="2508" y="1051"/>
                          </a:lnTo>
                          <a:lnTo>
                            <a:pt x="2508" y="1051"/>
                          </a:lnTo>
                          <a:lnTo>
                            <a:pt x="2486" y="1070"/>
                          </a:lnTo>
                          <a:lnTo>
                            <a:pt x="2463" y="1067"/>
                          </a:lnTo>
                          <a:lnTo>
                            <a:pt x="2480" y="1088"/>
                          </a:lnTo>
                          <a:lnTo>
                            <a:pt x="2489" y="1119"/>
                          </a:lnTo>
                          <a:lnTo>
                            <a:pt x="2497" y="1130"/>
                          </a:lnTo>
                          <a:lnTo>
                            <a:pt x="2500" y="1145"/>
                          </a:lnTo>
                          <a:lnTo>
                            <a:pt x="2495" y="1156"/>
                          </a:lnTo>
                          <a:lnTo>
                            <a:pt x="2463" y="1147"/>
                          </a:lnTo>
                          <a:lnTo>
                            <a:pt x="2416" y="1174"/>
                          </a:lnTo>
                          <a:lnTo>
                            <a:pt x="2400" y="1179"/>
                          </a:lnTo>
                          <a:lnTo>
                            <a:pt x="2373" y="1205"/>
                          </a:lnTo>
                          <a:lnTo>
                            <a:pt x="2348" y="1226"/>
                          </a:lnTo>
                          <a:lnTo>
                            <a:pt x="2342" y="1242"/>
                          </a:lnTo>
                          <a:lnTo>
                            <a:pt x="2317" y="1217"/>
                          </a:lnTo>
                          <a:lnTo>
                            <a:pt x="2273" y="1245"/>
                          </a:lnTo>
                          <a:lnTo>
                            <a:pt x="2265" y="1231"/>
                          </a:lnTo>
                          <a:lnTo>
                            <a:pt x="2248" y="1246"/>
                          </a:lnTo>
                          <a:lnTo>
                            <a:pt x="2225" y="1242"/>
                          </a:lnTo>
                          <a:lnTo>
                            <a:pt x="2219" y="1265"/>
                          </a:lnTo>
                          <a:lnTo>
                            <a:pt x="2199" y="1296"/>
                          </a:lnTo>
                          <a:lnTo>
                            <a:pt x="2199" y="1309"/>
                          </a:lnTo>
                          <a:lnTo>
                            <a:pt x="2219" y="1317"/>
                          </a:lnTo>
                          <a:lnTo>
                            <a:pt x="2216" y="1362"/>
                          </a:lnTo>
                          <a:lnTo>
                            <a:pt x="2201" y="1363"/>
                          </a:lnTo>
                          <a:lnTo>
                            <a:pt x="2193" y="1389"/>
                          </a:lnTo>
                          <a:lnTo>
                            <a:pt x="2201" y="1402"/>
                          </a:lnTo>
                          <a:lnTo>
                            <a:pt x="2170" y="1417"/>
                          </a:lnTo>
                          <a:lnTo>
                            <a:pt x="2164" y="1451"/>
                          </a:lnTo>
                          <a:lnTo>
                            <a:pt x="2140" y="1457"/>
                          </a:lnTo>
                          <a:lnTo>
                            <a:pt x="2133" y="1486"/>
                          </a:lnTo>
                          <a:lnTo>
                            <a:pt x="2109" y="1512"/>
                          </a:lnTo>
                          <a:lnTo>
                            <a:pt x="2103" y="1492"/>
                          </a:lnTo>
                          <a:lnTo>
                            <a:pt x="2095" y="1452"/>
                          </a:lnTo>
                          <a:lnTo>
                            <a:pt x="2086" y="1386"/>
                          </a:lnTo>
                          <a:lnTo>
                            <a:pt x="2094" y="1343"/>
                          </a:lnTo>
                          <a:lnTo>
                            <a:pt x="2109" y="1325"/>
                          </a:lnTo>
                          <a:lnTo>
                            <a:pt x="2109" y="1309"/>
                          </a:lnTo>
                          <a:lnTo>
                            <a:pt x="2136" y="1302"/>
                          </a:lnTo>
                          <a:lnTo>
                            <a:pt x="2167" y="1260"/>
                          </a:lnTo>
                          <a:lnTo>
                            <a:pt x="2196" y="1225"/>
                          </a:lnTo>
                          <a:lnTo>
                            <a:pt x="2227" y="1197"/>
                          </a:lnTo>
                          <a:lnTo>
                            <a:pt x="2241" y="1147"/>
                          </a:lnTo>
                          <a:lnTo>
                            <a:pt x="2221" y="1150"/>
                          </a:lnTo>
                          <a:lnTo>
                            <a:pt x="2210" y="1179"/>
                          </a:lnTo>
                          <a:lnTo>
                            <a:pt x="2167" y="1219"/>
                          </a:lnTo>
                          <a:lnTo>
                            <a:pt x="2152" y="1174"/>
                          </a:lnTo>
                          <a:lnTo>
                            <a:pt x="2107" y="1186"/>
                          </a:lnTo>
                          <a:lnTo>
                            <a:pt x="2064" y="1245"/>
                          </a:lnTo>
                          <a:lnTo>
                            <a:pt x="2080" y="1266"/>
                          </a:lnTo>
                          <a:lnTo>
                            <a:pt x="2041" y="1276"/>
                          </a:lnTo>
                          <a:lnTo>
                            <a:pt x="2014" y="1279"/>
                          </a:lnTo>
                          <a:lnTo>
                            <a:pt x="2015" y="1254"/>
                          </a:lnTo>
                          <a:lnTo>
                            <a:pt x="1989" y="1250"/>
                          </a:lnTo>
                          <a:lnTo>
                            <a:pt x="1968" y="1266"/>
                          </a:lnTo>
                          <a:lnTo>
                            <a:pt x="1916" y="1260"/>
                          </a:lnTo>
                          <a:lnTo>
                            <a:pt x="1859" y="1269"/>
                          </a:lnTo>
                          <a:lnTo>
                            <a:pt x="1802" y="1334"/>
                          </a:lnTo>
                          <a:lnTo>
                            <a:pt x="1736" y="1406"/>
                          </a:lnTo>
                          <a:lnTo>
                            <a:pt x="1764" y="1409"/>
                          </a:lnTo>
                          <a:lnTo>
                            <a:pt x="1773" y="1428"/>
                          </a:lnTo>
                          <a:lnTo>
                            <a:pt x="1788" y="1434"/>
                          </a:lnTo>
                          <a:lnTo>
                            <a:pt x="1801" y="1420"/>
                          </a:lnTo>
                          <a:lnTo>
                            <a:pt x="1819" y="1422"/>
                          </a:lnTo>
                          <a:lnTo>
                            <a:pt x="1843" y="1454"/>
                          </a:lnTo>
                          <a:lnTo>
                            <a:pt x="1843" y="1477"/>
                          </a:lnTo>
                          <a:lnTo>
                            <a:pt x="1831" y="1506"/>
                          </a:lnTo>
                          <a:lnTo>
                            <a:pt x="1830" y="1539"/>
                          </a:lnTo>
                          <a:lnTo>
                            <a:pt x="1822" y="1580"/>
                          </a:lnTo>
                          <a:lnTo>
                            <a:pt x="1796" y="1617"/>
                          </a:lnTo>
                          <a:lnTo>
                            <a:pt x="1790" y="1634"/>
                          </a:lnTo>
                          <a:lnTo>
                            <a:pt x="1767" y="1663"/>
                          </a:lnTo>
                          <a:lnTo>
                            <a:pt x="1744" y="1691"/>
                          </a:lnTo>
                          <a:lnTo>
                            <a:pt x="1732" y="1705"/>
                          </a:lnTo>
                          <a:lnTo>
                            <a:pt x="1709" y="1718"/>
                          </a:lnTo>
                          <a:lnTo>
                            <a:pt x="1698" y="1718"/>
                          </a:lnTo>
                          <a:lnTo>
                            <a:pt x="1687" y="1708"/>
                          </a:lnTo>
                          <a:lnTo>
                            <a:pt x="1664" y="1725"/>
                          </a:lnTo>
                          <a:lnTo>
                            <a:pt x="1663" y="1732"/>
                          </a:lnTo>
                          <a:lnTo>
                            <a:pt x="1655" y="1731"/>
                          </a:lnTo>
                          <a:lnTo>
                            <a:pt x="1647" y="1738"/>
                          </a:lnTo>
                          <a:lnTo>
                            <a:pt x="1643" y="1746"/>
                          </a:lnTo>
                          <a:lnTo>
                            <a:pt x="1643" y="1763"/>
                          </a:lnTo>
                          <a:lnTo>
                            <a:pt x="1635" y="1768"/>
                          </a:lnTo>
                          <a:lnTo>
                            <a:pt x="1632" y="1772"/>
                          </a:lnTo>
                          <a:lnTo>
                            <a:pt x="1624" y="1778"/>
                          </a:lnTo>
                          <a:lnTo>
                            <a:pt x="1613" y="1783"/>
                          </a:lnTo>
                          <a:lnTo>
                            <a:pt x="1606" y="1789"/>
                          </a:lnTo>
                          <a:lnTo>
                            <a:pt x="1606" y="1798"/>
                          </a:lnTo>
                          <a:lnTo>
                            <a:pt x="1603" y="1801"/>
                          </a:lnTo>
                          <a:lnTo>
                            <a:pt x="1610" y="1804"/>
                          </a:lnTo>
                          <a:lnTo>
                            <a:pt x="1620" y="1814"/>
                          </a:lnTo>
                          <a:lnTo>
                            <a:pt x="1635" y="1840"/>
                          </a:lnTo>
                          <a:lnTo>
                            <a:pt x="1639" y="1854"/>
                          </a:lnTo>
                          <a:lnTo>
                            <a:pt x="1639" y="1878"/>
                          </a:lnTo>
                          <a:lnTo>
                            <a:pt x="1632" y="1889"/>
                          </a:lnTo>
                          <a:lnTo>
                            <a:pt x="1616" y="1894"/>
                          </a:lnTo>
                          <a:lnTo>
                            <a:pt x="1603" y="1903"/>
                          </a:lnTo>
                          <a:lnTo>
                            <a:pt x="1587" y="1904"/>
                          </a:lnTo>
                          <a:lnTo>
                            <a:pt x="1586" y="1892"/>
                          </a:lnTo>
                          <a:lnTo>
                            <a:pt x="1589" y="1877"/>
                          </a:lnTo>
                          <a:lnTo>
                            <a:pt x="1581" y="1855"/>
                          </a:lnTo>
                          <a:lnTo>
                            <a:pt x="1593" y="1851"/>
                          </a:lnTo>
                          <a:lnTo>
                            <a:pt x="1583" y="1832"/>
                          </a:lnTo>
                          <a:lnTo>
                            <a:pt x="1574" y="1829"/>
                          </a:lnTo>
                          <a:lnTo>
                            <a:pt x="1572" y="1832"/>
                          </a:lnTo>
                          <a:lnTo>
                            <a:pt x="1567" y="1834"/>
                          </a:lnTo>
                          <a:lnTo>
                            <a:pt x="1566" y="1831"/>
                          </a:lnTo>
                          <a:lnTo>
                            <a:pt x="1561" y="1829"/>
                          </a:lnTo>
                          <a:lnTo>
                            <a:pt x="1557" y="1824"/>
                          </a:lnTo>
                          <a:lnTo>
                            <a:pt x="1561" y="1815"/>
                          </a:lnTo>
                          <a:lnTo>
                            <a:pt x="1566" y="1812"/>
                          </a:lnTo>
                          <a:lnTo>
                            <a:pt x="1564" y="1809"/>
                          </a:lnTo>
                          <a:lnTo>
                            <a:pt x="1569" y="1797"/>
                          </a:lnTo>
                          <a:lnTo>
                            <a:pt x="1567" y="1794"/>
                          </a:lnTo>
                          <a:lnTo>
                            <a:pt x="1558" y="1791"/>
                          </a:lnTo>
                          <a:lnTo>
                            <a:pt x="1549" y="1784"/>
                          </a:lnTo>
                          <a:lnTo>
                            <a:pt x="1526" y="1791"/>
                          </a:lnTo>
                          <a:lnTo>
                            <a:pt x="1512" y="1801"/>
                          </a:lnTo>
                          <a:lnTo>
                            <a:pt x="1494" y="1808"/>
                          </a:lnTo>
                          <a:lnTo>
                            <a:pt x="1503" y="1797"/>
                          </a:lnTo>
                          <a:lnTo>
                            <a:pt x="1500" y="1789"/>
                          </a:lnTo>
                          <a:lnTo>
                            <a:pt x="1514" y="1774"/>
                          </a:lnTo>
                          <a:lnTo>
                            <a:pt x="1505" y="1761"/>
                          </a:lnTo>
                          <a:lnTo>
                            <a:pt x="1489" y="1769"/>
                          </a:lnTo>
                          <a:lnTo>
                            <a:pt x="1469" y="1786"/>
                          </a:lnTo>
                          <a:lnTo>
                            <a:pt x="1460" y="1800"/>
                          </a:lnTo>
                          <a:lnTo>
                            <a:pt x="1443" y="1801"/>
                          </a:lnTo>
                          <a:lnTo>
                            <a:pt x="1434" y="1811"/>
                          </a:lnTo>
                          <a:lnTo>
                            <a:pt x="1443" y="1826"/>
                          </a:lnTo>
                          <a:lnTo>
                            <a:pt x="1457" y="1829"/>
                          </a:lnTo>
                          <a:lnTo>
                            <a:pt x="1457" y="1840"/>
                          </a:lnTo>
                          <a:lnTo>
                            <a:pt x="1471" y="1846"/>
                          </a:lnTo>
                          <a:lnTo>
                            <a:pt x="1491" y="1831"/>
                          </a:lnTo>
                          <a:lnTo>
                            <a:pt x="1506" y="1838"/>
                          </a:lnTo>
                          <a:lnTo>
                            <a:pt x="1517" y="1838"/>
                          </a:lnTo>
                          <a:lnTo>
                            <a:pt x="1520" y="1851"/>
                          </a:lnTo>
                          <a:lnTo>
                            <a:pt x="1495" y="1857"/>
                          </a:lnTo>
                          <a:lnTo>
                            <a:pt x="1488" y="1867"/>
                          </a:lnTo>
                          <a:lnTo>
                            <a:pt x="1471" y="1878"/>
                          </a:lnTo>
                          <a:lnTo>
                            <a:pt x="1462" y="1894"/>
                          </a:lnTo>
                          <a:lnTo>
                            <a:pt x="1480" y="1904"/>
                          </a:lnTo>
                          <a:lnTo>
                            <a:pt x="1486" y="1924"/>
                          </a:lnTo>
                          <a:lnTo>
                            <a:pt x="1497" y="1944"/>
                          </a:lnTo>
                          <a:lnTo>
                            <a:pt x="1509" y="1960"/>
                          </a:lnTo>
                          <a:lnTo>
                            <a:pt x="1509" y="1974"/>
                          </a:lnTo>
                          <a:lnTo>
                            <a:pt x="1498" y="1980"/>
                          </a:lnTo>
                          <a:lnTo>
                            <a:pt x="1501" y="1990"/>
                          </a:lnTo>
                          <a:lnTo>
                            <a:pt x="1512" y="1997"/>
                          </a:lnTo>
                          <a:lnTo>
                            <a:pt x="1509" y="2012"/>
                          </a:lnTo>
                          <a:lnTo>
                            <a:pt x="1505" y="2027"/>
                          </a:lnTo>
                          <a:lnTo>
                            <a:pt x="1495" y="2029"/>
                          </a:lnTo>
                          <a:lnTo>
                            <a:pt x="1483" y="2050"/>
                          </a:lnTo>
                          <a:lnTo>
                            <a:pt x="1469" y="2075"/>
                          </a:lnTo>
                          <a:lnTo>
                            <a:pt x="1452" y="2098"/>
                          </a:lnTo>
                          <a:lnTo>
                            <a:pt x="1429" y="2115"/>
                          </a:lnTo>
                          <a:lnTo>
                            <a:pt x="1405" y="2132"/>
                          </a:lnTo>
                          <a:lnTo>
                            <a:pt x="1386" y="2133"/>
                          </a:lnTo>
                          <a:lnTo>
                            <a:pt x="1376" y="2141"/>
                          </a:lnTo>
                          <a:lnTo>
                            <a:pt x="1370" y="2137"/>
                          </a:lnTo>
                          <a:lnTo>
                            <a:pt x="1360" y="2146"/>
                          </a:lnTo>
                          <a:lnTo>
                            <a:pt x="1336" y="2155"/>
                          </a:lnTo>
                          <a:lnTo>
                            <a:pt x="1317" y="2156"/>
                          </a:lnTo>
                          <a:lnTo>
                            <a:pt x="1311" y="2176"/>
                          </a:lnTo>
                          <a:lnTo>
                            <a:pt x="1302" y="2178"/>
                          </a:lnTo>
                          <a:lnTo>
                            <a:pt x="1297" y="2164"/>
                          </a:lnTo>
                          <a:lnTo>
                            <a:pt x="1302" y="2156"/>
                          </a:lnTo>
                          <a:lnTo>
                            <a:pt x="1279" y="2152"/>
                          </a:lnTo>
                          <a:lnTo>
                            <a:pt x="1270" y="2153"/>
                          </a:lnTo>
                          <a:lnTo>
                            <a:pt x="1247" y="2170"/>
                          </a:lnTo>
                          <a:lnTo>
                            <a:pt x="1233" y="2187"/>
                          </a:lnTo>
                          <a:lnTo>
                            <a:pt x="1230" y="2200"/>
                          </a:lnTo>
                          <a:lnTo>
                            <a:pt x="1242" y="2220"/>
                          </a:lnTo>
                          <a:lnTo>
                            <a:pt x="1259" y="2243"/>
                          </a:lnTo>
                          <a:lnTo>
                            <a:pt x="1274" y="2253"/>
                          </a:lnTo>
                          <a:lnTo>
                            <a:pt x="1285" y="2267"/>
                          </a:lnTo>
                          <a:lnTo>
                            <a:pt x="1293" y="2301"/>
                          </a:lnTo>
                          <a:lnTo>
                            <a:pt x="1290" y="2332"/>
                          </a:lnTo>
                          <a:lnTo>
                            <a:pt x="1276" y="2342"/>
                          </a:lnTo>
                          <a:lnTo>
                            <a:pt x="1256" y="2353"/>
                          </a:lnTo>
                          <a:lnTo>
                            <a:pt x="1242" y="2369"/>
                          </a:lnTo>
                          <a:lnTo>
                            <a:pt x="1221" y="2384"/>
                          </a:lnTo>
                          <a:lnTo>
                            <a:pt x="1215" y="2373"/>
                          </a:lnTo>
                          <a:lnTo>
                            <a:pt x="1219" y="2361"/>
                          </a:lnTo>
                          <a:lnTo>
                            <a:pt x="1207" y="2352"/>
                          </a:lnTo>
                          <a:lnTo>
                            <a:pt x="1192" y="2349"/>
                          </a:lnTo>
                          <a:lnTo>
                            <a:pt x="1185" y="2339"/>
                          </a:lnTo>
                          <a:lnTo>
                            <a:pt x="1176" y="2323"/>
                          </a:lnTo>
                          <a:lnTo>
                            <a:pt x="1161" y="2313"/>
                          </a:lnTo>
                          <a:lnTo>
                            <a:pt x="1146" y="2315"/>
                          </a:lnTo>
                          <a:lnTo>
                            <a:pt x="1149" y="2301"/>
                          </a:lnTo>
                          <a:lnTo>
                            <a:pt x="1133" y="2301"/>
                          </a:lnTo>
                          <a:lnTo>
                            <a:pt x="1132" y="2319"/>
                          </a:lnTo>
                          <a:lnTo>
                            <a:pt x="1123" y="2346"/>
                          </a:lnTo>
                          <a:lnTo>
                            <a:pt x="1116" y="2361"/>
                          </a:lnTo>
                          <a:lnTo>
                            <a:pt x="1118" y="2373"/>
                          </a:lnTo>
                          <a:lnTo>
                            <a:pt x="1130" y="2373"/>
                          </a:lnTo>
                          <a:lnTo>
                            <a:pt x="1136" y="2390"/>
                          </a:lnTo>
                          <a:lnTo>
                            <a:pt x="1139" y="2404"/>
                          </a:lnTo>
                          <a:lnTo>
                            <a:pt x="1149" y="2415"/>
                          </a:lnTo>
                          <a:lnTo>
                            <a:pt x="1159" y="2416"/>
                          </a:lnTo>
                          <a:lnTo>
                            <a:pt x="1169" y="2426"/>
                          </a:lnTo>
                          <a:lnTo>
                            <a:pt x="1172" y="2427"/>
                          </a:lnTo>
                          <a:lnTo>
                            <a:pt x="1182" y="2438"/>
                          </a:lnTo>
                          <a:lnTo>
                            <a:pt x="1190" y="2449"/>
                          </a:lnTo>
                          <a:lnTo>
                            <a:pt x="1190" y="2461"/>
                          </a:lnTo>
                          <a:lnTo>
                            <a:pt x="1189" y="2469"/>
                          </a:lnTo>
                          <a:lnTo>
                            <a:pt x="1190" y="2475"/>
                          </a:lnTo>
                          <a:lnTo>
                            <a:pt x="1192" y="2484"/>
                          </a:lnTo>
                          <a:lnTo>
                            <a:pt x="1198" y="2489"/>
                          </a:lnTo>
                          <a:lnTo>
                            <a:pt x="1205" y="2504"/>
                          </a:lnTo>
                          <a:lnTo>
                            <a:pt x="1204" y="2510"/>
                          </a:lnTo>
                          <a:lnTo>
                            <a:pt x="1192" y="2512"/>
                          </a:lnTo>
                          <a:lnTo>
                            <a:pt x="1176" y="2499"/>
                          </a:lnTo>
                          <a:lnTo>
                            <a:pt x="1156" y="2485"/>
                          </a:lnTo>
                          <a:lnTo>
                            <a:pt x="1153" y="2476"/>
                          </a:lnTo>
                          <a:lnTo>
                            <a:pt x="1144" y="2465"/>
                          </a:lnTo>
                          <a:lnTo>
                            <a:pt x="1141" y="2450"/>
                          </a:lnTo>
                          <a:lnTo>
                            <a:pt x="1135" y="2441"/>
                          </a:lnTo>
                          <a:lnTo>
                            <a:pt x="1136" y="2429"/>
                          </a:lnTo>
                          <a:lnTo>
                            <a:pt x="1133" y="2421"/>
                          </a:lnTo>
                          <a:lnTo>
                            <a:pt x="1126" y="2415"/>
                          </a:lnTo>
                          <a:lnTo>
                            <a:pt x="1124" y="2406"/>
                          </a:lnTo>
                          <a:lnTo>
                            <a:pt x="1115" y="2396"/>
                          </a:lnTo>
                          <a:lnTo>
                            <a:pt x="1106" y="2389"/>
                          </a:lnTo>
                          <a:lnTo>
                            <a:pt x="1103" y="2398"/>
                          </a:lnTo>
                          <a:lnTo>
                            <a:pt x="1100" y="2389"/>
                          </a:lnTo>
                          <a:lnTo>
                            <a:pt x="1101" y="2378"/>
                          </a:lnTo>
                          <a:lnTo>
                            <a:pt x="1107" y="2361"/>
                          </a:lnTo>
                          <a:lnTo>
                            <a:pt x="1106" y="2349"/>
                          </a:lnTo>
                          <a:lnTo>
                            <a:pt x="1110" y="2335"/>
                          </a:lnTo>
                          <a:lnTo>
                            <a:pt x="1104" y="2324"/>
                          </a:lnTo>
                          <a:lnTo>
                            <a:pt x="1106" y="2306"/>
                          </a:lnTo>
                          <a:lnTo>
                            <a:pt x="1100" y="2296"/>
                          </a:lnTo>
                          <a:lnTo>
                            <a:pt x="1093" y="2275"/>
                          </a:lnTo>
                          <a:lnTo>
                            <a:pt x="1090" y="2253"/>
                          </a:lnTo>
                          <a:lnTo>
                            <a:pt x="1083" y="2238"/>
                          </a:lnTo>
                          <a:lnTo>
                            <a:pt x="1072" y="2247"/>
                          </a:lnTo>
                          <a:lnTo>
                            <a:pt x="1052" y="2259"/>
                          </a:lnTo>
                          <a:lnTo>
                            <a:pt x="1043" y="2258"/>
                          </a:lnTo>
                          <a:lnTo>
                            <a:pt x="1032" y="2253"/>
                          </a:lnTo>
                          <a:lnTo>
                            <a:pt x="1038" y="2232"/>
                          </a:lnTo>
                          <a:lnTo>
                            <a:pt x="1034" y="2215"/>
                          </a:lnTo>
                          <a:lnTo>
                            <a:pt x="1021" y="2195"/>
                          </a:lnTo>
                          <a:lnTo>
                            <a:pt x="1023" y="2187"/>
                          </a:lnTo>
                          <a:lnTo>
                            <a:pt x="1012" y="2186"/>
                          </a:lnTo>
                          <a:lnTo>
                            <a:pt x="1000" y="2170"/>
                          </a:lnTo>
                          <a:lnTo>
                            <a:pt x="995" y="2161"/>
                          </a:lnTo>
                          <a:lnTo>
                            <a:pt x="995" y="2152"/>
                          </a:lnTo>
                          <a:lnTo>
                            <a:pt x="991" y="2143"/>
                          </a:lnTo>
                          <a:lnTo>
                            <a:pt x="985" y="2132"/>
                          </a:lnTo>
                          <a:lnTo>
                            <a:pt x="968" y="2130"/>
                          </a:lnTo>
                          <a:lnTo>
                            <a:pt x="969" y="2138"/>
                          </a:lnTo>
                          <a:lnTo>
                            <a:pt x="965" y="2149"/>
                          </a:lnTo>
                          <a:lnTo>
                            <a:pt x="957" y="2146"/>
                          </a:lnTo>
                          <a:lnTo>
                            <a:pt x="954" y="2149"/>
                          </a:lnTo>
                          <a:lnTo>
                            <a:pt x="949" y="2146"/>
                          </a:lnTo>
                          <a:lnTo>
                            <a:pt x="943" y="2144"/>
                          </a:lnTo>
                          <a:lnTo>
                            <a:pt x="940" y="2152"/>
                          </a:lnTo>
                          <a:lnTo>
                            <a:pt x="929" y="2152"/>
                          </a:lnTo>
                          <a:lnTo>
                            <a:pt x="908" y="2155"/>
                          </a:lnTo>
                          <a:lnTo>
                            <a:pt x="909" y="2169"/>
                          </a:lnTo>
                          <a:lnTo>
                            <a:pt x="900" y="2180"/>
                          </a:lnTo>
                          <a:lnTo>
                            <a:pt x="874" y="2192"/>
                          </a:lnTo>
                          <a:lnTo>
                            <a:pt x="856" y="2213"/>
                          </a:lnTo>
                          <a:lnTo>
                            <a:pt x="842" y="2224"/>
                          </a:lnTo>
                          <a:lnTo>
                            <a:pt x="825" y="2236"/>
                          </a:lnTo>
                          <a:lnTo>
                            <a:pt x="825" y="2244"/>
                          </a:lnTo>
                          <a:lnTo>
                            <a:pt x="817" y="2249"/>
                          </a:lnTo>
                          <a:lnTo>
                            <a:pt x="802" y="2255"/>
                          </a:lnTo>
                          <a:lnTo>
                            <a:pt x="793" y="2256"/>
                          </a:lnTo>
                          <a:lnTo>
                            <a:pt x="788" y="2270"/>
                          </a:lnTo>
                          <a:lnTo>
                            <a:pt x="791" y="2293"/>
                          </a:lnTo>
                          <a:lnTo>
                            <a:pt x="793" y="2307"/>
                          </a:lnTo>
                          <a:lnTo>
                            <a:pt x="785" y="2324"/>
                          </a:lnTo>
                          <a:lnTo>
                            <a:pt x="785" y="2355"/>
                          </a:lnTo>
                          <a:lnTo>
                            <a:pt x="776" y="2355"/>
                          </a:lnTo>
                          <a:lnTo>
                            <a:pt x="768" y="2369"/>
                          </a:lnTo>
                          <a:lnTo>
                            <a:pt x="774" y="2373"/>
                          </a:lnTo>
                          <a:lnTo>
                            <a:pt x="758" y="2379"/>
                          </a:lnTo>
                          <a:lnTo>
                            <a:pt x="753" y="2390"/>
                          </a:lnTo>
                          <a:lnTo>
                            <a:pt x="745" y="2396"/>
                          </a:lnTo>
                          <a:lnTo>
                            <a:pt x="728" y="2379"/>
                          </a:lnTo>
                          <a:lnTo>
                            <a:pt x="721" y="2355"/>
                          </a:lnTo>
                          <a:lnTo>
                            <a:pt x="715" y="2338"/>
                          </a:lnTo>
                          <a:lnTo>
                            <a:pt x="708" y="2329"/>
                          </a:lnTo>
                          <a:lnTo>
                            <a:pt x="699" y="2312"/>
                          </a:lnTo>
                          <a:lnTo>
                            <a:pt x="695" y="2290"/>
                          </a:lnTo>
                          <a:lnTo>
                            <a:pt x="692" y="2279"/>
                          </a:lnTo>
                          <a:lnTo>
                            <a:pt x="676" y="2255"/>
                          </a:lnTo>
                          <a:lnTo>
                            <a:pt x="669" y="2220"/>
                          </a:lnTo>
                          <a:lnTo>
                            <a:pt x="664" y="2196"/>
                          </a:lnTo>
                          <a:lnTo>
                            <a:pt x="664" y="2175"/>
                          </a:lnTo>
                          <a:lnTo>
                            <a:pt x="661" y="2158"/>
                          </a:lnTo>
                          <a:lnTo>
                            <a:pt x="636" y="2169"/>
                          </a:lnTo>
                          <a:lnTo>
                            <a:pt x="624" y="2167"/>
                          </a:lnTo>
                          <a:lnTo>
                            <a:pt x="601" y="2144"/>
                          </a:lnTo>
                          <a:lnTo>
                            <a:pt x="609" y="2138"/>
                          </a:lnTo>
                          <a:lnTo>
                            <a:pt x="604" y="2130"/>
                          </a:lnTo>
                          <a:lnTo>
                            <a:pt x="584" y="2115"/>
                          </a:lnTo>
                          <a:lnTo>
                            <a:pt x="572" y="2110"/>
                          </a:lnTo>
                          <a:lnTo>
                            <a:pt x="566" y="2097"/>
                          </a:lnTo>
                          <a:lnTo>
                            <a:pt x="554" y="2081"/>
                          </a:lnTo>
                          <a:lnTo>
                            <a:pt x="521" y="2086"/>
                          </a:lnTo>
                          <a:lnTo>
                            <a:pt x="494" y="2086"/>
                          </a:lnTo>
                          <a:lnTo>
                            <a:pt x="469" y="2089"/>
                          </a:lnTo>
                          <a:lnTo>
                            <a:pt x="469" y="2089"/>
                          </a:lnTo>
                          <a:close/>
                          <a:moveTo>
                            <a:pt x="1899" y="1691"/>
                          </a:moveTo>
                          <a:lnTo>
                            <a:pt x="1886" y="1686"/>
                          </a:lnTo>
                          <a:lnTo>
                            <a:pt x="1873" y="1678"/>
                          </a:lnTo>
                          <a:lnTo>
                            <a:pt x="1853" y="1652"/>
                          </a:lnTo>
                          <a:lnTo>
                            <a:pt x="1848" y="1672"/>
                          </a:lnTo>
                          <a:lnTo>
                            <a:pt x="1843" y="1705"/>
                          </a:lnTo>
                          <a:lnTo>
                            <a:pt x="1825" y="1706"/>
                          </a:lnTo>
                          <a:lnTo>
                            <a:pt x="1816" y="1725"/>
                          </a:lnTo>
                          <a:lnTo>
                            <a:pt x="1819" y="1748"/>
                          </a:lnTo>
                          <a:lnTo>
                            <a:pt x="1837" y="1748"/>
                          </a:lnTo>
                          <a:lnTo>
                            <a:pt x="1847" y="1721"/>
                          </a:lnTo>
                          <a:lnTo>
                            <a:pt x="1874" y="1737"/>
                          </a:lnTo>
                          <a:lnTo>
                            <a:pt x="1890" y="1714"/>
                          </a:lnTo>
                          <a:lnTo>
                            <a:pt x="1914" y="1708"/>
                          </a:lnTo>
                          <a:lnTo>
                            <a:pt x="1911" y="1681"/>
                          </a:lnTo>
                          <a:lnTo>
                            <a:pt x="1899" y="1691"/>
                          </a:lnTo>
                          <a:close/>
                          <a:moveTo>
                            <a:pt x="1836" y="2578"/>
                          </a:moveTo>
                          <a:lnTo>
                            <a:pt x="1817" y="2573"/>
                          </a:lnTo>
                          <a:lnTo>
                            <a:pt x="1805" y="2567"/>
                          </a:lnTo>
                          <a:lnTo>
                            <a:pt x="1790" y="2562"/>
                          </a:lnTo>
                          <a:lnTo>
                            <a:pt x="1774" y="2562"/>
                          </a:lnTo>
                          <a:lnTo>
                            <a:pt x="1756" y="2572"/>
                          </a:lnTo>
                          <a:lnTo>
                            <a:pt x="1741" y="2590"/>
                          </a:lnTo>
                          <a:lnTo>
                            <a:pt x="1724" y="2579"/>
                          </a:lnTo>
                          <a:lnTo>
                            <a:pt x="1719" y="2552"/>
                          </a:lnTo>
                          <a:lnTo>
                            <a:pt x="1716" y="2545"/>
                          </a:lnTo>
                          <a:lnTo>
                            <a:pt x="1689" y="2539"/>
                          </a:lnTo>
                          <a:lnTo>
                            <a:pt x="1679" y="2544"/>
                          </a:lnTo>
                          <a:lnTo>
                            <a:pt x="1656" y="2548"/>
                          </a:lnTo>
                          <a:lnTo>
                            <a:pt x="1664" y="2556"/>
                          </a:lnTo>
                          <a:lnTo>
                            <a:pt x="1679" y="2561"/>
                          </a:lnTo>
                          <a:lnTo>
                            <a:pt x="1686" y="2570"/>
                          </a:lnTo>
                          <a:lnTo>
                            <a:pt x="1710" y="2570"/>
                          </a:lnTo>
                          <a:lnTo>
                            <a:pt x="1712" y="2575"/>
                          </a:lnTo>
                          <a:lnTo>
                            <a:pt x="1699" y="2575"/>
                          </a:lnTo>
                          <a:lnTo>
                            <a:pt x="1681" y="2581"/>
                          </a:lnTo>
                          <a:lnTo>
                            <a:pt x="1695" y="2588"/>
                          </a:lnTo>
                          <a:lnTo>
                            <a:pt x="1695" y="2596"/>
                          </a:lnTo>
                          <a:lnTo>
                            <a:pt x="1699" y="2602"/>
                          </a:lnTo>
                          <a:lnTo>
                            <a:pt x="1705" y="2601"/>
                          </a:lnTo>
                          <a:lnTo>
                            <a:pt x="1710" y="2593"/>
                          </a:lnTo>
                          <a:lnTo>
                            <a:pt x="1736" y="2608"/>
                          </a:lnTo>
                          <a:lnTo>
                            <a:pt x="1750" y="2610"/>
                          </a:lnTo>
                          <a:lnTo>
                            <a:pt x="1784" y="2625"/>
                          </a:lnTo>
                          <a:lnTo>
                            <a:pt x="1791" y="2639"/>
                          </a:lnTo>
                          <a:lnTo>
                            <a:pt x="1796" y="2658"/>
                          </a:lnTo>
                          <a:lnTo>
                            <a:pt x="1785" y="2662"/>
                          </a:lnTo>
                          <a:lnTo>
                            <a:pt x="1778" y="2678"/>
                          </a:lnTo>
                          <a:lnTo>
                            <a:pt x="1801" y="2676"/>
                          </a:lnTo>
                          <a:lnTo>
                            <a:pt x="1804" y="2671"/>
                          </a:lnTo>
                          <a:lnTo>
                            <a:pt x="1822" y="2675"/>
                          </a:lnTo>
                          <a:lnTo>
                            <a:pt x="1837" y="2688"/>
                          </a:lnTo>
                          <a:lnTo>
                            <a:pt x="1837" y="2633"/>
                          </a:lnTo>
                          <a:lnTo>
                            <a:pt x="1836" y="2578"/>
                          </a:lnTo>
                          <a:close/>
                          <a:moveTo>
                            <a:pt x="1474" y="2266"/>
                          </a:moveTo>
                          <a:lnTo>
                            <a:pt x="1477" y="2273"/>
                          </a:lnTo>
                          <a:lnTo>
                            <a:pt x="1485" y="2283"/>
                          </a:lnTo>
                          <a:lnTo>
                            <a:pt x="1488" y="2276"/>
                          </a:lnTo>
                          <a:lnTo>
                            <a:pt x="1492" y="2281"/>
                          </a:lnTo>
                          <a:lnTo>
                            <a:pt x="1486" y="2286"/>
                          </a:lnTo>
                          <a:lnTo>
                            <a:pt x="1486" y="2293"/>
                          </a:lnTo>
                          <a:lnTo>
                            <a:pt x="1494" y="2296"/>
                          </a:lnTo>
                          <a:lnTo>
                            <a:pt x="1511" y="2293"/>
                          </a:lnTo>
                          <a:lnTo>
                            <a:pt x="1521" y="2304"/>
                          </a:lnTo>
                          <a:lnTo>
                            <a:pt x="1526" y="2298"/>
                          </a:lnTo>
                          <a:lnTo>
                            <a:pt x="1532" y="2307"/>
                          </a:lnTo>
                          <a:lnTo>
                            <a:pt x="1546" y="2316"/>
                          </a:lnTo>
                          <a:lnTo>
                            <a:pt x="1547" y="2307"/>
                          </a:lnTo>
                          <a:lnTo>
                            <a:pt x="1541" y="2304"/>
                          </a:lnTo>
                          <a:lnTo>
                            <a:pt x="1543" y="2293"/>
                          </a:lnTo>
                          <a:lnTo>
                            <a:pt x="1521" y="2284"/>
                          </a:lnTo>
                          <a:lnTo>
                            <a:pt x="1514" y="2286"/>
                          </a:lnTo>
                          <a:lnTo>
                            <a:pt x="1505" y="2284"/>
                          </a:lnTo>
                          <a:lnTo>
                            <a:pt x="1501" y="2270"/>
                          </a:lnTo>
                          <a:lnTo>
                            <a:pt x="1503" y="2256"/>
                          </a:lnTo>
                          <a:lnTo>
                            <a:pt x="1514" y="2250"/>
                          </a:lnTo>
                          <a:lnTo>
                            <a:pt x="1518" y="2235"/>
                          </a:lnTo>
                          <a:lnTo>
                            <a:pt x="1512" y="2223"/>
                          </a:lnTo>
                          <a:lnTo>
                            <a:pt x="1515" y="2215"/>
                          </a:lnTo>
                          <a:lnTo>
                            <a:pt x="1514" y="2210"/>
                          </a:lnTo>
                          <a:lnTo>
                            <a:pt x="1509" y="2215"/>
                          </a:lnTo>
                          <a:lnTo>
                            <a:pt x="1498" y="2210"/>
                          </a:lnTo>
                          <a:lnTo>
                            <a:pt x="1488" y="2210"/>
                          </a:lnTo>
                          <a:lnTo>
                            <a:pt x="1482" y="2226"/>
                          </a:lnTo>
                          <a:lnTo>
                            <a:pt x="1480" y="2253"/>
                          </a:lnTo>
                          <a:lnTo>
                            <a:pt x="1474" y="2249"/>
                          </a:lnTo>
                          <a:lnTo>
                            <a:pt x="1474" y="2266"/>
                          </a:lnTo>
                          <a:close/>
                          <a:moveTo>
                            <a:pt x="1704" y="1927"/>
                          </a:moveTo>
                          <a:lnTo>
                            <a:pt x="1713" y="1921"/>
                          </a:lnTo>
                          <a:lnTo>
                            <a:pt x="1719" y="1929"/>
                          </a:lnTo>
                          <a:lnTo>
                            <a:pt x="1728" y="1917"/>
                          </a:lnTo>
                          <a:lnTo>
                            <a:pt x="1727" y="1909"/>
                          </a:lnTo>
                          <a:lnTo>
                            <a:pt x="1715" y="1904"/>
                          </a:lnTo>
                          <a:lnTo>
                            <a:pt x="1707" y="1914"/>
                          </a:lnTo>
                          <a:lnTo>
                            <a:pt x="1698" y="1911"/>
                          </a:lnTo>
                          <a:lnTo>
                            <a:pt x="1689" y="1923"/>
                          </a:lnTo>
                          <a:lnTo>
                            <a:pt x="1689" y="1934"/>
                          </a:lnTo>
                          <a:lnTo>
                            <a:pt x="1699" y="1938"/>
                          </a:lnTo>
                          <a:lnTo>
                            <a:pt x="1704" y="1927"/>
                          </a:lnTo>
                          <a:close/>
                          <a:moveTo>
                            <a:pt x="1721" y="2631"/>
                          </a:moveTo>
                          <a:lnTo>
                            <a:pt x="1718" y="2638"/>
                          </a:lnTo>
                          <a:lnTo>
                            <a:pt x="1719" y="2651"/>
                          </a:lnTo>
                          <a:lnTo>
                            <a:pt x="1728" y="2639"/>
                          </a:lnTo>
                          <a:lnTo>
                            <a:pt x="1728" y="2631"/>
                          </a:lnTo>
                          <a:lnTo>
                            <a:pt x="1724" y="2625"/>
                          </a:lnTo>
                          <a:lnTo>
                            <a:pt x="1721" y="2631"/>
                          </a:lnTo>
                          <a:close/>
                          <a:moveTo>
                            <a:pt x="1218" y="287"/>
                          </a:moveTo>
                          <a:lnTo>
                            <a:pt x="1224" y="252"/>
                          </a:lnTo>
                          <a:lnTo>
                            <a:pt x="1179" y="201"/>
                          </a:lnTo>
                          <a:lnTo>
                            <a:pt x="1167" y="195"/>
                          </a:lnTo>
                          <a:lnTo>
                            <a:pt x="1153" y="206"/>
                          </a:lnTo>
                          <a:lnTo>
                            <a:pt x="1121" y="319"/>
                          </a:lnTo>
                          <a:lnTo>
                            <a:pt x="1218" y="287"/>
                          </a:lnTo>
                          <a:close/>
                          <a:moveTo>
                            <a:pt x="1017" y="187"/>
                          </a:moveTo>
                          <a:lnTo>
                            <a:pt x="1044" y="223"/>
                          </a:lnTo>
                          <a:lnTo>
                            <a:pt x="1092" y="249"/>
                          </a:lnTo>
                          <a:lnTo>
                            <a:pt x="1130" y="238"/>
                          </a:lnTo>
                          <a:lnTo>
                            <a:pt x="1135" y="153"/>
                          </a:lnTo>
                          <a:lnTo>
                            <a:pt x="1095" y="55"/>
                          </a:lnTo>
                          <a:lnTo>
                            <a:pt x="1061" y="0"/>
                          </a:lnTo>
                          <a:lnTo>
                            <a:pt x="1024" y="26"/>
                          </a:lnTo>
                          <a:lnTo>
                            <a:pt x="980" y="98"/>
                          </a:lnTo>
                          <a:lnTo>
                            <a:pt x="1003" y="118"/>
                          </a:lnTo>
                          <a:lnTo>
                            <a:pt x="1017" y="187"/>
                          </a:lnTo>
                          <a:close/>
                          <a:moveTo>
                            <a:pt x="802" y="2373"/>
                          </a:moveTo>
                          <a:lnTo>
                            <a:pt x="790" y="2364"/>
                          </a:lnTo>
                          <a:lnTo>
                            <a:pt x="782" y="2392"/>
                          </a:lnTo>
                          <a:lnTo>
                            <a:pt x="785" y="2416"/>
                          </a:lnTo>
                          <a:lnTo>
                            <a:pt x="793" y="2430"/>
                          </a:lnTo>
                          <a:lnTo>
                            <a:pt x="808" y="2426"/>
                          </a:lnTo>
                          <a:lnTo>
                            <a:pt x="816" y="2421"/>
                          </a:lnTo>
                          <a:lnTo>
                            <a:pt x="817" y="2404"/>
                          </a:lnTo>
                          <a:lnTo>
                            <a:pt x="810" y="2386"/>
                          </a:lnTo>
                          <a:lnTo>
                            <a:pt x="802" y="2373"/>
                          </a:lnTo>
                          <a:close/>
                          <a:moveTo>
                            <a:pt x="1833" y="615"/>
                          </a:moveTo>
                          <a:lnTo>
                            <a:pt x="1817" y="639"/>
                          </a:lnTo>
                          <a:lnTo>
                            <a:pt x="1820" y="642"/>
                          </a:lnTo>
                          <a:lnTo>
                            <a:pt x="1856" y="648"/>
                          </a:lnTo>
                          <a:lnTo>
                            <a:pt x="1882" y="648"/>
                          </a:lnTo>
                          <a:lnTo>
                            <a:pt x="1879" y="633"/>
                          </a:lnTo>
                          <a:lnTo>
                            <a:pt x="1854" y="610"/>
                          </a:lnTo>
                          <a:lnTo>
                            <a:pt x="1833" y="615"/>
                          </a:lnTo>
                          <a:close/>
                          <a:moveTo>
                            <a:pt x="1830" y="545"/>
                          </a:moveTo>
                          <a:lnTo>
                            <a:pt x="1893" y="549"/>
                          </a:lnTo>
                          <a:lnTo>
                            <a:pt x="1906" y="498"/>
                          </a:lnTo>
                          <a:lnTo>
                            <a:pt x="1845" y="461"/>
                          </a:lnTo>
                          <a:lnTo>
                            <a:pt x="1799" y="458"/>
                          </a:lnTo>
                          <a:lnTo>
                            <a:pt x="1776" y="470"/>
                          </a:lnTo>
                          <a:lnTo>
                            <a:pt x="1767" y="518"/>
                          </a:lnTo>
                          <a:lnTo>
                            <a:pt x="1801" y="561"/>
                          </a:lnTo>
                          <a:lnTo>
                            <a:pt x="1830" y="545"/>
                          </a:lnTo>
                          <a:close/>
                          <a:moveTo>
                            <a:pt x="2508" y="782"/>
                          </a:moveTo>
                          <a:lnTo>
                            <a:pt x="2529" y="779"/>
                          </a:lnTo>
                          <a:lnTo>
                            <a:pt x="2548" y="765"/>
                          </a:lnTo>
                          <a:lnTo>
                            <a:pt x="2549" y="759"/>
                          </a:lnTo>
                          <a:lnTo>
                            <a:pt x="2525" y="742"/>
                          </a:lnTo>
                          <a:lnTo>
                            <a:pt x="2509" y="742"/>
                          </a:lnTo>
                          <a:lnTo>
                            <a:pt x="2508" y="745"/>
                          </a:lnTo>
                          <a:lnTo>
                            <a:pt x="2485" y="767"/>
                          </a:lnTo>
                          <a:lnTo>
                            <a:pt x="2488" y="784"/>
                          </a:lnTo>
                          <a:lnTo>
                            <a:pt x="2508" y="782"/>
                          </a:lnTo>
                          <a:close/>
                          <a:moveTo>
                            <a:pt x="1985" y="556"/>
                          </a:moveTo>
                          <a:lnTo>
                            <a:pt x="2005" y="530"/>
                          </a:lnTo>
                          <a:lnTo>
                            <a:pt x="1960" y="513"/>
                          </a:lnTo>
                          <a:lnTo>
                            <a:pt x="1928" y="502"/>
                          </a:lnTo>
                          <a:lnTo>
                            <a:pt x="1925" y="524"/>
                          </a:lnTo>
                          <a:lnTo>
                            <a:pt x="1957" y="550"/>
                          </a:lnTo>
                          <a:lnTo>
                            <a:pt x="1985" y="556"/>
                          </a:lnTo>
                          <a:close/>
                          <a:moveTo>
                            <a:pt x="1231" y="2607"/>
                          </a:moveTo>
                          <a:lnTo>
                            <a:pt x="1236" y="2585"/>
                          </a:lnTo>
                          <a:lnTo>
                            <a:pt x="1228" y="2575"/>
                          </a:lnTo>
                          <a:lnTo>
                            <a:pt x="1215" y="2573"/>
                          </a:lnTo>
                          <a:lnTo>
                            <a:pt x="1208" y="2562"/>
                          </a:lnTo>
                          <a:lnTo>
                            <a:pt x="1207" y="2552"/>
                          </a:lnTo>
                          <a:lnTo>
                            <a:pt x="1199" y="2550"/>
                          </a:lnTo>
                          <a:lnTo>
                            <a:pt x="1190" y="2544"/>
                          </a:lnTo>
                          <a:lnTo>
                            <a:pt x="1198" y="2530"/>
                          </a:lnTo>
                          <a:lnTo>
                            <a:pt x="1184" y="2522"/>
                          </a:lnTo>
                          <a:lnTo>
                            <a:pt x="1175" y="2509"/>
                          </a:lnTo>
                          <a:lnTo>
                            <a:pt x="1159" y="2496"/>
                          </a:lnTo>
                          <a:lnTo>
                            <a:pt x="1143" y="2496"/>
                          </a:lnTo>
                          <a:lnTo>
                            <a:pt x="1126" y="2478"/>
                          </a:lnTo>
                          <a:lnTo>
                            <a:pt x="1116" y="2472"/>
                          </a:lnTo>
                          <a:lnTo>
                            <a:pt x="1103" y="2459"/>
                          </a:lnTo>
                          <a:lnTo>
                            <a:pt x="1087" y="2442"/>
                          </a:lnTo>
                          <a:lnTo>
                            <a:pt x="1061" y="2439"/>
                          </a:lnTo>
                          <a:lnTo>
                            <a:pt x="1050" y="2438"/>
                          </a:lnTo>
                          <a:lnTo>
                            <a:pt x="1052" y="2447"/>
                          </a:lnTo>
                          <a:lnTo>
                            <a:pt x="1069" y="2465"/>
                          </a:lnTo>
                          <a:lnTo>
                            <a:pt x="1083" y="2476"/>
                          </a:lnTo>
                          <a:lnTo>
                            <a:pt x="1092" y="2490"/>
                          </a:lnTo>
                          <a:lnTo>
                            <a:pt x="1107" y="2501"/>
                          </a:lnTo>
                          <a:lnTo>
                            <a:pt x="1113" y="2515"/>
                          </a:lnTo>
                          <a:lnTo>
                            <a:pt x="1118" y="2530"/>
                          </a:lnTo>
                          <a:lnTo>
                            <a:pt x="1133" y="2544"/>
                          </a:lnTo>
                          <a:lnTo>
                            <a:pt x="1147" y="2567"/>
                          </a:lnTo>
                          <a:lnTo>
                            <a:pt x="1155" y="2581"/>
                          </a:lnTo>
                          <a:lnTo>
                            <a:pt x="1169" y="2595"/>
                          </a:lnTo>
                          <a:lnTo>
                            <a:pt x="1175" y="2605"/>
                          </a:lnTo>
                          <a:lnTo>
                            <a:pt x="1198" y="2619"/>
                          </a:lnTo>
                          <a:lnTo>
                            <a:pt x="1212" y="2633"/>
                          </a:lnTo>
                          <a:lnTo>
                            <a:pt x="1231" y="2633"/>
                          </a:lnTo>
                          <a:lnTo>
                            <a:pt x="1231" y="2607"/>
                          </a:lnTo>
                          <a:close/>
                          <a:moveTo>
                            <a:pt x="1455" y="2675"/>
                          </a:moveTo>
                          <a:lnTo>
                            <a:pt x="1445" y="2676"/>
                          </a:lnTo>
                          <a:lnTo>
                            <a:pt x="1439" y="2671"/>
                          </a:lnTo>
                          <a:lnTo>
                            <a:pt x="1434" y="2678"/>
                          </a:lnTo>
                          <a:lnTo>
                            <a:pt x="1425" y="2678"/>
                          </a:lnTo>
                          <a:lnTo>
                            <a:pt x="1419" y="2688"/>
                          </a:lnTo>
                          <a:lnTo>
                            <a:pt x="1428" y="2688"/>
                          </a:lnTo>
                          <a:lnTo>
                            <a:pt x="1440" y="2685"/>
                          </a:lnTo>
                          <a:lnTo>
                            <a:pt x="1460" y="2682"/>
                          </a:lnTo>
                          <a:lnTo>
                            <a:pt x="1455" y="2675"/>
                          </a:lnTo>
                          <a:close/>
                          <a:moveTo>
                            <a:pt x="1474" y="2693"/>
                          </a:moveTo>
                          <a:lnTo>
                            <a:pt x="1457" y="2698"/>
                          </a:lnTo>
                          <a:lnTo>
                            <a:pt x="1480" y="2708"/>
                          </a:lnTo>
                          <a:lnTo>
                            <a:pt x="1488" y="2708"/>
                          </a:lnTo>
                          <a:lnTo>
                            <a:pt x="1489" y="2704"/>
                          </a:lnTo>
                          <a:lnTo>
                            <a:pt x="1483" y="2699"/>
                          </a:lnTo>
                          <a:lnTo>
                            <a:pt x="1474" y="2693"/>
                          </a:lnTo>
                          <a:close/>
                          <a:moveTo>
                            <a:pt x="1459" y="2361"/>
                          </a:moveTo>
                          <a:lnTo>
                            <a:pt x="1469" y="2350"/>
                          </a:lnTo>
                          <a:lnTo>
                            <a:pt x="1466" y="2336"/>
                          </a:lnTo>
                          <a:lnTo>
                            <a:pt x="1457" y="2353"/>
                          </a:lnTo>
                          <a:lnTo>
                            <a:pt x="1448" y="2366"/>
                          </a:lnTo>
                          <a:lnTo>
                            <a:pt x="1435" y="2376"/>
                          </a:lnTo>
                          <a:lnTo>
                            <a:pt x="1426" y="2389"/>
                          </a:lnTo>
                          <a:lnTo>
                            <a:pt x="1449" y="2372"/>
                          </a:lnTo>
                          <a:lnTo>
                            <a:pt x="1459" y="2361"/>
                          </a:lnTo>
                          <a:close/>
                          <a:moveTo>
                            <a:pt x="1491" y="2556"/>
                          </a:moveTo>
                          <a:lnTo>
                            <a:pt x="1475" y="2541"/>
                          </a:lnTo>
                          <a:lnTo>
                            <a:pt x="1478" y="2529"/>
                          </a:lnTo>
                          <a:lnTo>
                            <a:pt x="1494" y="2525"/>
                          </a:lnTo>
                          <a:lnTo>
                            <a:pt x="1521" y="2525"/>
                          </a:lnTo>
                          <a:lnTo>
                            <a:pt x="1538" y="2529"/>
                          </a:lnTo>
                          <a:lnTo>
                            <a:pt x="1552" y="2525"/>
                          </a:lnTo>
                          <a:lnTo>
                            <a:pt x="1566" y="2509"/>
                          </a:lnTo>
                          <a:lnTo>
                            <a:pt x="1563" y="2504"/>
                          </a:lnTo>
                          <a:lnTo>
                            <a:pt x="1546" y="2516"/>
                          </a:lnTo>
                          <a:lnTo>
                            <a:pt x="1526" y="2518"/>
                          </a:lnTo>
                          <a:lnTo>
                            <a:pt x="1505" y="2515"/>
                          </a:lnTo>
                          <a:lnTo>
                            <a:pt x="1491" y="2510"/>
                          </a:lnTo>
                          <a:lnTo>
                            <a:pt x="1475" y="2522"/>
                          </a:lnTo>
                          <a:lnTo>
                            <a:pt x="1472" y="2530"/>
                          </a:lnTo>
                          <a:lnTo>
                            <a:pt x="1463" y="2556"/>
                          </a:lnTo>
                          <a:lnTo>
                            <a:pt x="1462" y="2568"/>
                          </a:lnTo>
                          <a:lnTo>
                            <a:pt x="1454" y="2581"/>
                          </a:lnTo>
                          <a:lnTo>
                            <a:pt x="1460" y="2592"/>
                          </a:lnTo>
                          <a:lnTo>
                            <a:pt x="1466" y="2592"/>
                          </a:lnTo>
                          <a:lnTo>
                            <a:pt x="1469" y="2608"/>
                          </a:lnTo>
                          <a:lnTo>
                            <a:pt x="1465" y="2625"/>
                          </a:lnTo>
                          <a:lnTo>
                            <a:pt x="1472" y="2630"/>
                          </a:lnTo>
                          <a:lnTo>
                            <a:pt x="1483" y="2627"/>
                          </a:lnTo>
                          <a:lnTo>
                            <a:pt x="1482" y="2602"/>
                          </a:lnTo>
                          <a:lnTo>
                            <a:pt x="1480" y="2582"/>
                          </a:lnTo>
                          <a:lnTo>
                            <a:pt x="1492" y="2578"/>
                          </a:lnTo>
                          <a:lnTo>
                            <a:pt x="1491" y="2595"/>
                          </a:lnTo>
                          <a:lnTo>
                            <a:pt x="1503" y="2604"/>
                          </a:lnTo>
                          <a:lnTo>
                            <a:pt x="1501" y="2612"/>
                          </a:lnTo>
                          <a:lnTo>
                            <a:pt x="1505" y="2616"/>
                          </a:lnTo>
                          <a:lnTo>
                            <a:pt x="1521" y="2608"/>
                          </a:lnTo>
                          <a:lnTo>
                            <a:pt x="1514" y="2622"/>
                          </a:lnTo>
                          <a:lnTo>
                            <a:pt x="1520" y="2628"/>
                          </a:lnTo>
                          <a:lnTo>
                            <a:pt x="1529" y="2624"/>
                          </a:lnTo>
                          <a:lnTo>
                            <a:pt x="1529" y="2613"/>
                          </a:lnTo>
                          <a:lnTo>
                            <a:pt x="1514" y="2593"/>
                          </a:lnTo>
                          <a:lnTo>
                            <a:pt x="1517" y="2587"/>
                          </a:lnTo>
                          <a:lnTo>
                            <a:pt x="1501" y="2565"/>
                          </a:lnTo>
                          <a:lnTo>
                            <a:pt x="1517" y="2558"/>
                          </a:lnTo>
                          <a:lnTo>
                            <a:pt x="1524" y="2548"/>
                          </a:lnTo>
                          <a:lnTo>
                            <a:pt x="1531" y="2550"/>
                          </a:lnTo>
                          <a:lnTo>
                            <a:pt x="1532" y="2542"/>
                          </a:lnTo>
                          <a:lnTo>
                            <a:pt x="1500" y="2548"/>
                          </a:lnTo>
                          <a:lnTo>
                            <a:pt x="1491" y="2556"/>
                          </a:lnTo>
                          <a:close/>
                          <a:moveTo>
                            <a:pt x="1498" y="2679"/>
                          </a:moveTo>
                          <a:lnTo>
                            <a:pt x="1488" y="2675"/>
                          </a:lnTo>
                          <a:lnTo>
                            <a:pt x="1474" y="2678"/>
                          </a:lnTo>
                          <a:lnTo>
                            <a:pt x="1474" y="2684"/>
                          </a:lnTo>
                          <a:lnTo>
                            <a:pt x="1497" y="2687"/>
                          </a:lnTo>
                          <a:lnTo>
                            <a:pt x="1523" y="2681"/>
                          </a:lnTo>
                          <a:lnTo>
                            <a:pt x="1524" y="2671"/>
                          </a:lnTo>
                          <a:lnTo>
                            <a:pt x="1509" y="2678"/>
                          </a:lnTo>
                          <a:lnTo>
                            <a:pt x="1498" y="2679"/>
                          </a:lnTo>
                          <a:close/>
                          <a:moveTo>
                            <a:pt x="1432" y="2530"/>
                          </a:moveTo>
                          <a:lnTo>
                            <a:pt x="1437" y="2519"/>
                          </a:lnTo>
                          <a:lnTo>
                            <a:pt x="1459" y="2516"/>
                          </a:lnTo>
                          <a:lnTo>
                            <a:pt x="1439" y="2501"/>
                          </a:lnTo>
                          <a:lnTo>
                            <a:pt x="1442" y="2493"/>
                          </a:lnTo>
                          <a:lnTo>
                            <a:pt x="1429" y="2476"/>
                          </a:lnTo>
                          <a:lnTo>
                            <a:pt x="1439" y="2461"/>
                          </a:lnTo>
                          <a:lnTo>
                            <a:pt x="1451" y="2456"/>
                          </a:lnTo>
                          <a:lnTo>
                            <a:pt x="1448" y="2447"/>
                          </a:lnTo>
                          <a:lnTo>
                            <a:pt x="1460" y="2447"/>
                          </a:lnTo>
                          <a:lnTo>
                            <a:pt x="1462" y="2439"/>
                          </a:lnTo>
                          <a:lnTo>
                            <a:pt x="1446" y="2435"/>
                          </a:lnTo>
                          <a:lnTo>
                            <a:pt x="1435" y="2430"/>
                          </a:lnTo>
                          <a:lnTo>
                            <a:pt x="1434" y="2422"/>
                          </a:lnTo>
                          <a:lnTo>
                            <a:pt x="1426" y="2413"/>
                          </a:lnTo>
                          <a:lnTo>
                            <a:pt x="1419" y="2413"/>
                          </a:lnTo>
                          <a:lnTo>
                            <a:pt x="1409" y="2427"/>
                          </a:lnTo>
                          <a:lnTo>
                            <a:pt x="1397" y="2439"/>
                          </a:lnTo>
                          <a:lnTo>
                            <a:pt x="1382" y="2449"/>
                          </a:lnTo>
                          <a:lnTo>
                            <a:pt x="1376" y="2455"/>
                          </a:lnTo>
                          <a:lnTo>
                            <a:pt x="1366" y="2465"/>
                          </a:lnTo>
                          <a:lnTo>
                            <a:pt x="1354" y="2479"/>
                          </a:lnTo>
                          <a:lnTo>
                            <a:pt x="1334" y="2482"/>
                          </a:lnTo>
                          <a:lnTo>
                            <a:pt x="1327" y="2487"/>
                          </a:lnTo>
                          <a:lnTo>
                            <a:pt x="1324" y="2501"/>
                          </a:lnTo>
                          <a:lnTo>
                            <a:pt x="1310" y="2504"/>
                          </a:lnTo>
                          <a:lnTo>
                            <a:pt x="1297" y="2498"/>
                          </a:lnTo>
                          <a:lnTo>
                            <a:pt x="1287" y="2510"/>
                          </a:lnTo>
                          <a:lnTo>
                            <a:pt x="1285" y="2525"/>
                          </a:lnTo>
                          <a:lnTo>
                            <a:pt x="1287" y="2541"/>
                          </a:lnTo>
                          <a:lnTo>
                            <a:pt x="1296" y="2555"/>
                          </a:lnTo>
                          <a:lnTo>
                            <a:pt x="1304" y="2559"/>
                          </a:lnTo>
                          <a:lnTo>
                            <a:pt x="1307" y="2582"/>
                          </a:lnTo>
                          <a:lnTo>
                            <a:pt x="1320" y="2585"/>
                          </a:lnTo>
                          <a:lnTo>
                            <a:pt x="1333" y="2584"/>
                          </a:lnTo>
                          <a:lnTo>
                            <a:pt x="1339" y="2592"/>
                          </a:lnTo>
                          <a:lnTo>
                            <a:pt x="1359" y="2585"/>
                          </a:lnTo>
                          <a:lnTo>
                            <a:pt x="1368" y="2592"/>
                          </a:lnTo>
                          <a:lnTo>
                            <a:pt x="1380" y="2593"/>
                          </a:lnTo>
                          <a:lnTo>
                            <a:pt x="1386" y="2602"/>
                          </a:lnTo>
                          <a:lnTo>
                            <a:pt x="1406" y="2595"/>
                          </a:lnTo>
                          <a:lnTo>
                            <a:pt x="1409" y="2601"/>
                          </a:lnTo>
                          <a:lnTo>
                            <a:pt x="1416" y="2575"/>
                          </a:lnTo>
                          <a:lnTo>
                            <a:pt x="1416" y="2558"/>
                          </a:lnTo>
                          <a:lnTo>
                            <a:pt x="1432" y="2545"/>
                          </a:lnTo>
                          <a:lnTo>
                            <a:pt x="1432" y="2530"/>
                          </a:lnTo>
                          <a:close/>
                          <a:moveTo>
                            <a:pt x="1313" y="2196"/>
                          </a:moveTo>
                          <a:lnTo>
                            <a:pt x="1320" y="2189"/>
                          </a:lnTo>
                          <a:lnTo>
                            <a:pt x="1317" y="2181"/>
                          </a:lnTo>
                          <a:lnTo>
                            <a:pt x="1307" y="2181"/>
                          </a:lnTo>
                          <a:lnTo>
                            <a:pt x="1288" y="2186"/>
                          </a:lnTo>
                          <a:lnTo>
                            <a:pt x="1279" y="2193"/>
                          </a:lnTo>
                          <a:lnTo>
                            <a:pt x="1281" y="2210"/>
                          </a:lnTo>
                          <a:lnTo>
                            <a:pt x="1294" y="2215"/>
                          </a:lnTo>
                          <a:lnTo>
                            <a:pt x="1310" y="2207"/>
                          </a:lnTo>
                          <a:lnTo>
                            <a:pt x="1313" y="2196"/>
                          </a:lnTo>
                          <a:close/>
                          <a:moveTo>
                            <a:pt x="1354" y="2662"/>
                          </a:moveTo>
                          <a:lnTo>
                            <a:pt x="1348" y="2651"/>
                          </a:lnTo>
                          <a:lnTo>
                            <a:pt x="1316" y="2644"/>
                          </a:lnTo>
                          <a:lnTo>
                            <a:pt x="1313" y="2650"/>
                          </a:lnTo>
                          <a:lnTo>
                            <a:pt x="1279" y="2648"/>
                          </a:lnTo>
                          <a:lnTo>
                            <a:pt x="1278" y="2642"/>
                          </a:lnTo>
                          <a:lnTo>
                            <a:pt x="1270" y="2641"/>
                          </a:lnTo>
                          <a:lnTo>
                            <a:pt x="1256" y="2635"/>
                          </a:lnTo>
                          <a:lnTo>
                            <a:pt x="1235" y="2633"/>
                          </a:lnTo>
                          <a:lnTo>
                            <a:pt x="1224" y="2650"/>
                          </a:lnTo>
                          <a:lnTo>
                            <a:pt x="1239" y="2651"/>
                          </a:lnTo>
                          <a:lnTo>
                            <a:pt x="1242" y="2659"/>
                          </a:lnTo>
                          <a:lnTo>
                            <a:pt x="1273" y="2665"/>
                          </a:lnTo>
                          <a:lnTo>
                            <a:pt x="1281" y="2664"/>
                          </a:lnTo>
                          <a:lnTo>
                            <a:pt x="1293" y="2665"/>
                          </a:lnTo>
                          <a:lnTo>
                            <a:pt x="1313" y="2671"/>
                          </a:lnTo>
                          <a:lnTo>
                            <a:pt x="1330" y="2675"/>
                          </a:lnTo>
                          <a:lnTo>
                            <a:pt x="1348" y="2676"/>
                          </a:lnTo>
                          <a:lnTo>
                            <a:pt x="1363" y="2676"/>
                          </a:lnTo>
                          <a:lnTo>
                            <a:pt x="1382" y="2682"/>
                          </a:lnTo>
                          <a:lnTo>
                            <a:pt x="1402" y="2676"/>
                          </a:lnTo>
                          <a:lnTo>
                            <a:pt x="1380" y="2667"/>
                          </a:lnTo>
                          <a:lnTo>
                            <a:pt x="1354" y="2662"/>
                          </a:lnTo>
                          <a:close/>
                        </a:path>
                      </a:pathLst>
                    </a:custGeom>
                    <a:solidFill>
                      <a:srgbClr val="D9D9D9"/>
                    </a:solidFill>
                    <a:ln w="4763" cap="flat">
                      <a:solidFill>
                        <a:srgbClr val="FFFFFF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endParaRPr lang="en-US" sz="1000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Europe" descr="{&quot;Key&quot;:&quot;europe&quot;,&quot;Name&quot;:&quot;Europe&quot;,&quot;Value&quot;:1.0,&quot;Formula&quot;:&quot;&quot;,&quot;Text&quot;:&quot;&quot;,&quot;OfficeApplication&quot;:1,&quot;HasValue&quot;:true}">
                      <a:extLst>
                        <a:ext uri="{FF2B5EF4-FFF2-40B4-BE49-F238E27FC236}">
                          <a16:creationId xmlns:a16="http://schemas.microsoft.com/office/drawing/2014/main" id="{AD35967C-5260-4913-BDC0-5487FC7CCF5F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4188" y="354"/>
                      <a:ext cx="1603" cy="1863"/>
                    </a:xfrm>
                    <a:custGeom>
                      <a:avLst/>
                      <a:gdLst>
                        <a:gd name="T0" fmla="*/ 815 w 1603"/>
                        <a:gd name="T1" fmla="*/ 153 h 1863"/>
                        <a:gd name="T2" fmla="*/ 672 w 1603"/>
                        <a:gd name="T3" fmla="*/ 298 h 1863"/>
                        <a:gd name="T4" fmla="*/ 680 w 1603"/>
                        <a:gd name="T5" fmla="*/ 127 h 1863"/>
                        <a:gd name="T6" fmla="*/ 38 w 1603"/>
                        <a:gd name="T7" fmla="*/ 954 h 1863"/>
                        <a:gd name="T8" fmla="*/ 163 w 1603"/>
                        <a:gd name="T9" fmla="*/ 1039 h 1863"/>
                        <a:gd name="T10" fmla="*/ 368 w 1603"/>
                        <a:gd name="T11" fmla="*/ 1391 h 1863"/>
                        <a:gd name="T12" fmla="*/ 319 w 1603"/>
                        <a:gd name="T13" fmla="*/ 1498 h 1863"/>
                        <a:gd name="T14" fmla="*/ 448 w 1603"/>
                        <a:gd name="T15" fmla="*/ 1426 h 1863"/>
                        <a:gd name="T16" fmla="*/ 348 w 1603"/>
                        <a:gd name="T17" fmla="*/ 1282 h 1863"/>
                        <a:gd name="T18" fmla="*/ 1259 w 1603"/>
                        <a:gd name="T19" fmla="*/ 61 h 1863"/>
                        <a:gd name="T20" fmla="*/ 1219 w 1603"/>
                        <a:gd name="T21" fmla="*/ 70 h 1863"/>
                        <a:gd name="T22" fmla="*/ 1425 w 1603"/>
                        <a:gd name="T23" fmla="*/ 544 h 1863"/>
                        <a:gd name="T24" fmla="*/ 1381 w 1603"/>
                        <a:gd name="T25" fmla="*/ 524 h 1863"/>
                        <a:gd name="T26" fmla="*/ 678 w 1603"/>
                        <a:gd name="T27" fmla="*/ 1820 h 1863"/>
                        <a:gd name="T28" fmla="*/ 986 w 1603"/>
                        <a:gd name="T29" fmla="*/ 1863 h 1863"/>
                        <a:gd name="T30" fmla="*/ 844 w 1603"/>
                        <a:gd name="T31" fmla="*/ 1852 h 1863"/>
                        <a:gd name="T32" fmla="*/ 302 w 1603"/>
                        <a:gd name="T33" fmla="*/ 1355 h 1863"/>
                        <a:gd name="T34" fmla="*/ 1470 w 1603"/>
                        <a:gd name="T35" fmla="*/ 839 h 1863"/>
                        <a:gd name="T36" fmla="*/ 1242 w 1603"/>
                        <a:gd name="T37" fmla="*/ 934 h 1863"/>
                        <a:gd name="T38" fmla="*/ 1158 w 1603"/>
                        <a:gd name="T39" fmla="*/ 954 h 1863"/>
                        <a:gd name="T40" fmla="*/ 1019 w 1603"/>
                        <a:gd name="T41" fmla="*/ 996 h 1863"/>
                        <a:gd name="T42" fmla="*/ 971 w 1603"/>
                        <a:gd name="T43" fmla="*/ 791 h 1863"/>
                        <a:gd name="T44" fmla="*/ 673 w 1603"/>
                        <a:gd name="T45" fmla="*/ 893 h 1863"/>
                        <a:gd name="T46" fmla="*/ 609 w 1603"/>
                        <a:gd name="T47" fmla="*/ 1239 h 1863"/>
                        <a:gd name="T48" fmla="*/ 726 w 1603"/>
                        <a:gd name="T49" fmla="*/ 1177 h 1863"/>
                        <a:gd name="T50" fmla="*/ 805 w 1603"/>
                        <a:gd name="T51" fmla="*/ 1060 h 1863"/>
                        <a:gd name="T52" fmla="*/ 900 w 1603"/>
                        <a:gd name="T53" fmla="*/ 1217 h 1863"/>
                        <a:gd name="T54" fmla="*/ 807 w 1603"/>
                        <a:gd name="T55" fmla="*/ 1274 h 1863"/>
                        <a:gd name="T56" fmla="*/ 673 w 1603"/>
                        <a:gd name="T57" fmla="*/ 1388 h 1863"/>
                        <a:gd name="T58" fmla="*/ 603 w 1603"/>
                        <a:gd name="T59" fmla="*/ 1328 h 1863"/>
                        <a:gd name="T60" fmla="*/ 558 w 1603"/>
                        <a:gd name="T61" fmla="*/ 1345 h 1863"/>
                        <a:gd name="T62" fmla="*/ 476 w 1603"/>
                        <a:gd name="T63" fmla="*/ 1465 h 1863"/>
                        <a:gd name="T64" fmla="*/ 380 w 1603"/>
                        <a:gd name="T65" fmla="*/ 1578 h 1863"/>
                        <a:gd name="T66" fmla="*/ 264 w 1603"/>
                        <a:gd name="T67" fmla="*/ 1703 h 1863"/>
                        <a:gd name="T68" fmla="*/ 265 w 1603"/>
                        <a:gd name="T69" fmla="*/ 1814 h 1863"/>
                        <a:gd name="T70" fmla="*/ 382 w 1603"/>
                        <a:gd name="T71" fmla="*/ 1818 h 1863"/>
                        <a:gd name="T72" fmla="*/ 471 w 1603"/>
                        <a:gd name="T73" fmla="*/ 1689 h 1863"/>
                        <a:gd name="T74" fmla="*/ 612 w 1603"/>
                        <a:gd name="T75" fmla="*/ 1692 h 1863"/>
                        <a:gd name="T76" fmla="*/ 689 w 1603"/>
                        <a:gd name="T77" fmla="*/ 1786 h 1863"/>
                        <a:gd name="T78" fmla="*/ 735 w 1603"/>
                        <a:gd name="T79" fmla="*/ 1738 h 1863"/>
                        <a:gd name="T80" fmla="*/ 632 w 1603"/>
                        <a:gd name="T81" fmla="*/ 1632 h 1863"/>
                        <a:gd name="T82" fmla="*/ 684 w 1603"/>
                        <a:gd name="T83" fmla="*/ 1646 h 1863"/>
                        <a:gd name="T84" fmla="*/ 753 w 1603"/>
                        <a:gd name="T85" fmla="*/ 1714 h 1863"/>
                        <a:gd name="T86" fmla="*/ 805 w 1603"/>
                        <a:gd name="T87" fmla="*/ 1824 h 1863"/>
                        <a:gd name="T88" fmla="*/ 808 w 1603"/>
                        <a:gd name="T89" fmla="*/ 1740 h 1863"/>
                        <a:gd name="T90" fmla="*/ 887 w 1603"/>
                        <a:gd name="T91" fmla="*/ 1731 h 1863"/>
                        <a:gd name="T92" fmla="*/ 928 w 1603"/>
                        <a:gd name="T93" fmla="*/ 1628 h 1863"/>
                        <a:gd name="T94" fmla="*/ 992 w 1603"/>
                        <a:gd name="T95" fmla="*/ 1640 h 1863"/>
                        <a:gd name="T96" fmla="*/ 1077 w 1603"/>
                        <a:gd name="T97" fmla="*/ 1577 h 1863"/>
                        <a:gd name="T98" fmla="*/ 1123 w 1603"/>
                        <a:gd name="T99" fmla="*/ 1677 h 1863"/>
                        <a:gd name="T100" fmla="*/ 956 w 1603"/>
                        <a:gd name="T101" fmla="*/ 1721 h 1863"/>
                        <a:gd name="T102" fmla="*/ 942 w 1603"/>
                        <a:gd name="T103" fmla="*/ 1827 h 1863"/>
                        <a:gd name="T104" fmla="*/ 1051 w 1603"/>
                        <a:gd name="T105" fmla="*/ 1827 h 1863"/>
                        <a:gd name="T106" fmla="*/ 1181 w 1603"/>
                        <a:gd name="T107" fmla="*/ 1812 h 1863"/>
                        <a:gd name="T108" fmla="*/ 1246 w 1603"/>
                        <a:gd name="T109" fmla="*/ 1755 h 1863"/>
                        <a:gd name="T110" fmla="*/ 1273 w 1603"/>
                        <a:gd name="T111" fmla="*/ 1732 h 1863"/>
                        <a:gd name="T112" fmla="*/ 1246 w 1603"/>
                        <a:gd name="T113" fmla="*/ 1560 h 1863"/>
                        <a:gd name="T114" fmla="*/ 1377 w 1603"/>
                        <a:gd name="T115" fmla="*/ 1485 h 1863"/>
                        <a:gd name="T116" fmla="*/ 1436 w 1603"/>
                        <a:gd name="T117" fmla="*/ 1429 h 1863"/>
                        <a:gd name="T118" fmla="*/ 1404 w 1603"/>
                        <a:gd name="T119" fmla="*/ 1348 h 1863"/>
                        <a:gd name="T120" fmla="*/ 1505 w 1603"/>
                        <a:gd name="T121" fmla="*/ 1017 h 1863"/>
                        <a:gd name="T122" fmla="*/ 571 w 1603"/>
                        <a:gd name="T123" fmla="*/ 1771 h 1863"/>
                        <a:gd name="T124" fmla="*/ 569 w 1603"/>
                        <a:gd name="T125" fmla="*/ 1711 h 18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1603" h="1863">
                          <a:moveTo>
                            <a:pt x="775" y="302"/>
                          </a:moveTo>
                          <a:lnTo>
                            <a:pt x="787" y="282"/>
                          </a:lnTo>
                          <a:lnTo>
                            <a:pt x="776" y="255"/>
                          </a:lnTo>
                          <a:lnTo>
                            <a:pt x="813" y="238"/>
                          </a:lnTo>
                          <a:lnTo>
                            <a:pt x="819" y="270"/>
                          </a:lnTo>
                          <a:lnTo>
                            <a:pt x="844" y="289"/>
                          </a:lnTo>
                          <a:lnTo>
                            <a:pt x="805" y="321"/>
                          </a:lnTo>
                          <a:lnTo>
                            <a:pt x="775" y="302"/>
                          </a:lnTo>
                          <a:close/>
                          <a:moveTo>
                            <a:pt x="761" y="110"/>
                          </a:moveTo>
                          <a:lnTo>
                            <a:pt x="764" y="138"/>
                          </a:lnTo>
                          <a:lnTo>
                            <a:pt x="815" y="153"/>
                          </a:lnTo>
                          <a:lnTo>
                            <a:pt x="865" y="143"/>
                          </a:lnTo>
                          <a:lnTo>
                            <a:pt x="890" y="90"/>
                          </a:lnTo>
                          <a:lnTo>
                            <a:pt x="856" y="53"/>
                          </a:lnTo>
                          <a:lnTo>
                            <a:pt x="813" y="27"/>
                          </a:lnTo>
                          <a:lnTo>
                            <a:pt x="796" y="60"/>
                          </a:lnTo>
                          <a:lnTo>
                            <a:pt x="770" y="33"/>
                          </a:lnTo>
                          <a:lnTo>
                            <a:pt x="718" y="63"/>
                          </a:lnTo>
                          <a:lnTo>
                            <a:pt x="736" y="109"/>
                          </a:lnTo>
                          <a:lnTo>
                            <a:pt x="761" y="110"/>
                          </a:lnTo>
                          <a:close/>
                          <a:moveTo>
                            <a:pt x="646" y="275"/>
                          </a:moveTo>
                          <a:lnTo>
                            <a:pt x="672" y="298"/>
                          </a:lnTo>
                          <a:lnTo>
                            <a:pt x="655" y="327"/>
                          </a:lnTo>
                          <a:lnTo>
                            <a:pt x="692" y="373"/>
                          </a:lnTo>
                          <a:lnTo>
                            <a:pt x="713" y="370"/>
                          </a:lnTo>
                          <a:lnTo>
                            <a:pt x="721" y="306"/>
                          </a:lnTo>
                          <a:lnTo>
                            <a:pt x="736" y="290"/>
                          </a:lnTo>
                          <a:lnTo>
                            <a:pt x="746" y="229"/>
                          </a:lnTo>
                          <a:lnTo>
                            <a:pt x="790" y="193"/>
                          </a:lnTo>
                          <a:lnTo>
                            <a:pt x="733" y="124"/>
                          </a:lnTo>
                          <a:lnTo>
                            <a:pt x="712" y="90"/>
                          </a:lnTo>
                          <a:lnTo>
                            <a:pt x="686" y="93"/>
                          </a:lnTo>
                          <a:lnTo>
                            <a:pt x="680" y="127"/>
                          </a:lnTo>
                          <a:lnTo>
                            <a:pt x="655" y="129"/>
                          </a:lnTo>
                          <a:lnTo>
                            <a:pt x="646" y="93"/>
                          </a:lnTo>
                          <a:lnTo>
                            <a:pt x="598" y="129"/>
                          </a:lnTo>
                          <a:lnTo>
                            <a:pt x="612" y="201"/>
                          </a:lnTo>
                          <a:lnTo>
                            <a:pt x="646" y="275"/>
                          </a:lnTo>
                          <a:close/>
                          <a:moveTo>
                            <a:pt x="169" y="953"/>
                          </a:moveTo>
                          <a:lnTo>
                            <a:pt x="141" y="950"/>
                          </a:lnTo>
                          <a:lnTo>
                            <a:pt x="112" y="973"/>
                          </a:lnTo>
                          <a:lnTo>
                            <a:pt x="91" y="960"/>
                          </a:lnTo>
                          <a:lnTo>
                            <a:pt x="65" y="983"/>
                          </a:lnTo>
                          <a:lnTo>
                            <a:pt x="38" y="954"/>
                          </a:lnTo>
                          <a:lnTo>
                            <a:pt x="12" y="960"/>
                          </a:lnTo>
                          <a:lnTo>
                            <a:pt x="0" y="988"/>
                          </a:lnTo>
                          <a:lnTo>
                            <a:pt x="37" y="997"/>
                          </a:lnTo>
                          <a:lnTo>
                            <a:pt x="37" y="1010"/>
                          </a:lnTo>
                          <a:lnTo>
                            <a:pt x="6" y="1017"/>
                          </a:lnTo>
                          <a:lnTo>
                            <a:pt x="45" y="1037"/>
                          </a:lnTo>
                          <a:lnTo>
                            <a:pt x="28" y="1054"/>
                          </a:lnTo>
                          <a:lnTo>
                            <a:pt x="75" y="1066"/>
                          </a:lnTo>
                          <a:lnTo>
                            <a:pt x="98" y="1073"/>
                          </a:lnTo>
                          <a:lnTo>
                            <a:pt x="112" y="1066"/>
                          </a:lnTo>
                          <a:lnTo>
                            <a:pt x="163" y="1039"/>
                          </a:lnTo>
                          <a:lnTo>
                            <a:pt x="184" y="1008"/>
                          </a:lnTo>
                          <a:lnTo>
                            <a:pt x="166" y="980"/>
                          </a:lnTo>
                          <a:lnTo>
                            <a:pt x="169" y="953"/>
                          </a:lnTo>
                          <a:close/>
                          <a:moveTo>
                            <a:pt x="322" y="1351"/>
                          </a:moveTo>
                          <a:lnTo>
                            <a:pt x="331" y="1337"/>
                          </a:lnTo>
                          <a:lnTo>
                            <a:pt x="338" y="1345"/>
                          </a:lnTo>
                          <a:lnTo>
                            <a:pt x="331" y="1359"/>
                          </a:lnTo>
                          <a:lnTo>
                            <a:pt x="336" y="1366"/>
                          </a:lnTo>
                          <a:lnTo>
                            <a:pt x="356" y="1372"/>
                          </a:lnTo>
                          <a:lnTo>
                            <a:pt x="356" y="1372"/>
                          </a:lnTo>
                          <a:lnTo>
                            <a:pt x="368" y="1391"/>
                          </a:lnTo>
                          <a:lnTo>
                            <a:pt x="365" y="1408"/>
                          </a:lnTo>
                          <a:lnTo>
                            <a:pt x="365" y="1408"/>
                          </a:lnTo>
                          <a:lnTo>
                            <a:pt x="341" y="1405"/>
                          </a:lnTo>
                          <a:lnTo>
                            <a:pt x="338" y="1423"/>
                          </a:lnTo>
                          <a:lnTo>
                            <a:pt x="347" y="1438"/>
                          </a:lnTo>
                          <a:lnTo>
                            <a:pt x="328" y="1448"/>
                          </a:lnTo>
                          <a:lnTo>
                            <a:pt x="333" y="1458"/>
                          </a:lnTo>
                          <a:lnTo>
                            <a:pt x="361" y="1463"/>
                          </a:lnTo>
                          <a:lnTo>
                            <a:pt x="361" y="1463"/>
                          </a:lnTo>
                          <a:lnTo>
                            <a:pt x="345" y="1469"/>
                          </a:lnTo>
                          <a:lnTo>
                            <a:pt x="319" y="1498"/>
                          </a:lnTo>
                          <a:lnTo>
                            <a:pt x="328" y="1503"/>
                          </a:lnTo>
                          <a:lnTo>
                            <a:pt x="341" y="1492"/>
                          </a:lnTo>
                          <a:lnTo>
                            <a:pt x="356" y="1495"/>
                          </a:lnTo>
                          <a:lnTo>
                            <a:pt x="368" y="1483"/>
                          </a:lnTo>
                          <a:lnTo>
                            <a:pt x="376" y="1489"/>
                          </a:lnTo>
                          <a:lnTo>
                            <a:pt x="405" y="1482"/>
                          </a:lnTo>
                          <a:lnTo>
                            <a:pt x="428" y="1482"/>
                          </a:lnTo>
                          <a:lnTo>
                            <a:pt x="443" y="1468"/>
                          </a:lnTo>
                          <a:lnTo>
                            <a:pt x="437" y="1452"/>
                          </a:lnTo>
                          <a:lnTo>
                            <a:pt x="445" y="1445"/>
                          </a:lnTo>
                          <a:lnTo>
                            <a:pt x="448" y="1426"/>
                          </a:lnTo>
                          <a:lnTo>
                            <a:pt x="426" y="1422"/>
                          </a:lnTo>
                          <a:lnTo>
                            <a:pt x="422" y="1409"/>
                          </a:lnTo>
                          <a:lnTo>
                            <a:pt x="411" y="1377"/>
                          </a:lnTo>
                          <a:lnTo>
                            <a:pt x="399" y="1372"/>
                          </a:lnTo>
                          <a:lnTo>
                            <a:pt x="384" y="1337"/>
                          </a:lnTo>
                          <a:lnTo>
                            <a:pt x="384" y="1334"/>
                          </a:lnTo>
                          <a:lnTo>
                            <a:pt x="365" y="1331"/>
                          </a:lnTo>
                          <a:lnTo>
                            <a:pt x="380" y="1303"/>
                          </a:lnTo>
                          <a:lnTo>
                            <a:pt x="385" y="1277"/>
                          </a:lnTo>
                          <a:lnTo>
                            <a:pt x="367" y="1277"/>
                          </a:lnTo>
                          <a:lnTo>
                            <a:pt x="348" y="1282"/>
                          </a:lnTo>
                          <a:lnTo>
                            <a:pt x="367" y="1246"/>
                          </a:lnTo>
                          <a:lnTo>
                            <a:pt x="347" y="1249"/>
                          </a:lnTo>
                          <a:lnTo>
                            <a:pt x="333" y="1246"/>
                          </a:lnTo>
                          <a:lnTo>
                            <a:pt x="319" y="1272"/>
                          </a:lnTo>
                          <a:lnTo>
                            <a:pt x="313" y="1306"/>
                          </a:lnTo>
                          <a:lnTo>
                            <a:pt x="322" y="1322"/>
                          </a:lnTo>
                          <a:lnTo>
                            <a:pt x="322" y="1351"/>
                          </a:lnTo>
                          <a:close/>
                          <a:moveTo>
                            <a:pt x="1219" y="70"/>
                          </a:moveTo>
                          <a:lnTo>
                            <a:pt x="1238" y="95"/>
                          </a:lnTo>
                          <a:lnTo>
                            <a:pt x="1258" y="78"/>
                          </a:lnTo>
                          <a:lnTo>
                            <a:pt x="1259" y="61"/>
                          </a:lnTo>
                          <a:lnTo>
                            <a:pt x="1275" y="53"/>
                          </a:lnTo>
                          <a:lnTo>
                            <a:pt x="1299" y="40"/>
                          </a:lnTo>
                          <a:lnTo>
                            <a:pt x="1305" y="24"/>
                          </a:lnTo>
                          <a:lnTo>
                            <a:pt x="1279" y="0"/>
                          </a:lnTo>
                          <a:lnTo>
                            <a:pt x="1264" y="18"/>
                          </a:lnTo>
                          <a:lnTo>
                            <a:pt x="1253" y="43"/>
                          </a:lnTo>
                          <a:lnTo>
                            <a:pt x="1250" y="15"/>
                          </a:lnTo>
                          <a:lnTo>
                            <a:pt x="1224" y="15"/>
                          </a:lnTo>
                          <a:lnTo>
                            <a:pt x="1190" y="35"/>
                          </a:lnTo>
                          <a:lnTo>
                            <a:pt x="1229" y="38"/>
                          </a:lnTo>
                          <a:lnTo>
                            <a:pt x="1219" y="70"/>
                          </a:lnTo>
                          <a:close/>
                          <a:moveTo>
                            <a:pt x="1322" y="668"/>
                          </a:moveTo>
                          <a:lnTo>
                            <a:pt x="1304" y="681"/>
                          </a:lnTo>
                          <a:lnTo>
                            <a:pt x="1307" y="710"/>
                          </a:lnTo>
                          <a:lnTo>
                            <a:pt x="1338" y="725"/>
                          </a:lnTo>
                          <a:lnTo>
                            <a:pt x="1342" y="748"/>
                          </a:lnTo>
                          <a:lnTo>
                            <a:pt x="1399" y="754"/>
                          </a:lnTo>
                          <a:lnTo>
                            <a:pt x="1408" y="750"/>
                          </a:lnTo>
                          <a:lnTo>
                            <a:pt x="1376" y="707"/>
                          </a:lnTo>
                          <a:lnTo>
                            <a:pt x="1373" y="661"/>
                          </a:lnTo>
                          <a:lnTo>
                            <a:pt x="1399" y="604"/>
                          </a:lnTo>
                          <a:lnTo>
                            <a:pt x="1425" y="544"/>
                          </a:lnTo>
                          <a:lnTo>
                            <a:pt x="1479" y="481"/>
                          </a:lnTo>
                          <a:lnTo>
                            <a:pt x="1531" y="448"/>
                          </a:lnTo>
                          <a:lnTo>
                            <a:pt x="1592" y="413"/>
                          </a:lnTo>
                          <a:lnTo>
                            <a:pt x="1603" y="390"/>
                          </a:lnTo>
                          <a:lnTo>
                            <a:pt x="1591" y="361"/>
                          </a:lnTo>
                          <a:lnTo>
                            <a:pt x="1558" y="370"/>
                          </a:lnTo>
                          <a:lnTo>
                            <a:pt x="1528" y="398"/>
                          </a:lnTo>
                          <a:lnTo>
                            <a:pt x="1471" y="412"/>
                          </a:lnTo>
                          <a:lnTo>
                            <a:pt x="1414" y="458"/>
                          </a:lnTo>
                          <a:lnTo>
                            <a:pt x="1376" y="493"/>
                          </a:lnTo>
                          <a:lnTo>
                            <a:pt x="1381" y="524"/>
                          </a:lnTo>
                          <a:lnTo>
                            <a:pt x="1339" y="579"/>
                          </a:lnTo>
                          <a:lnTo>
                            <a:pt x="1354" y="587"/>
                          </a:lnTo>
                          <a:lnTo>
                            <a:pt x="1321" y="638"/>
                          </a:lnTo>
                          <a:lnTo>
                            <a:pt x="1322" y="668"/>
                          </a:lnTo>
                          <a:close/>
                          <a:moveTo>
                            <a:pt x="673" y="1787"/>
                          </a:moveTo>
                          <a:lnTo>
                            <a:pt x="655" y="1789"/>
                          </a:lnTo>
                          <a:lnTo>
                            <a:pt x="635" y="1787"/>
                          </a:lnTo>
                          <a:lnTo>
                            <a:pt x="632" y="1798"/>
                          </a:lnTo>
                          <a:lnTo>
                            <a:pt x="657" y="1809"/>
                          </a:lnTo>
                          <a:lnTo>
                            <a:pt x="666" y="1812"/>
                          </a:lnTo>
                          <a:lnTo>
                            <a:pt x="678" y="1820"/>
                          </a:lnTo>
                          <a:lnTo>
                            <a:pt x="683" y="1809"/>
                          </a:lnTo>
                          <a:lnTo>
                            <a:pt x="680" y="1803"/>
                          </a:lnTo>
                          <a:lnTo>
                            <a:pt x="686" y="1786"/>
                          </a:lnTo>
                          <a:lnTo>
                            <a:pt x="673" y="1787"/>
                          </a:lnTo>
                          <a:close/>
                          <a:moveTo>
                            <a:pt x="999" y="1846"/>
                          </a:moveTo>
                          <a:lnTo>
                            <a:pt x="986" y="1846"/>
                          </a:lnTo>
                          <a:lnTo>
                            <a:pt x="983" y="1850"/>
                          </a:lnTo>
                          <a:lnTo>
                            <a:pt x="982" y="1852"/>
                          </a:lnTo>
                          <a:lnTo>
                            <a:pt x="974" y="1852"/>
                          </a:lnTo>
                          <a:lnTo>
                            <a:pt x="977" y="1861"/>
                          </a:lnTo>
                          <a:lnTo>
                            <a:pt x="986" y="1863"/>
                          </a:lnTo>
                          <a:lnTo>
                            <a:pt x="1003" y="1855"/>
                          </a:lnTo>
                          <a:lnTo>
                            <a:pt x="1003" y="1854"/>
                          </a:lnTo>
                          <a:lnTo>
                            <a:pt x="1002" y="1849"/>
                          </a:lnTo>
                          <a:lnTo>
                            <a:pt x="1014" y="1840"/>
                          </a:lnTo>
                          <a:lnTo>
                            <a:pt x="999" y="1846"/>
                          </a:lnTo>
                          <a:close/>
                          <a:moveTo>
                            <a:pt x="862" y="1847"/>
                          </a:moveTo>
                          <a:lnTo>
                            <a:pt x="850" y="1846"/>
                          </a:lnTo>
                          <a:lnTo>
                            <a:pt x="836" y="1847"/>
                          </a:lnTo>
                          <a:lnTo>
                            <a:pt x="827" y="1840"/>
                          </a:lnTo>
                          <a:lnTo>
                            <a:pt x="824" y="1849"/>
                          </a:lnTo>
                          <a:lnTo>
                            <a:pt x="844" y="1852"/>
                          </a:lnTo>
                          <a:lnTo>
                            <a:pt x="844" y="1857"/>
                          </a:lnTo>
                          <a:lnTo>
                            <a:pt x="868" y="1854"/>
                          </a:lnTo>
                          <a:lnTo>
                            <a:pt x="871" y="1847"/>
                          </a:lnTo>
                          <a:lnTo>
                            <a:pt x="862" y="1850"/>
                          </a:lnTo>
                          <a:lnTo>
                            <a:pt x="862" y="1847"/>
                          </a:lnTo>
                          <a:close/>
                          <a:moveTo>
                            <a:pt x="272" y="1457"/>
                          </a:moveTo>
                          <a:lnTo>
                            <a:pt x="302" y="1440"/>
                          </a:lnTo>
                          <a:lnTo>
                            <a:pt x="315" y="1415"/>
                          </a:lnTo>
                          <a:lnTo>
                            <a:pt x="313" y="1394"/>
                          </a:lnTo>
                          <a:lnTo>
                            <a:pt x="322" y="1374"/>
                          </a:lnTo>
                          <a:lnTo>
                            <a:pt x="302" y="1355"/>
                          </a:lnTo>
                          <a:lnTo>
                            <a:pt x="288" y="1357"/>
                          </a:lnTo>
                          <a:lnTo>
                            <a:pt x="276" y="1371"/>
                          </a:lnTo>
                          <a:lnTo>
                            <a:pt x="252" y="1394"/>
                          </a:lnTo>
                          <a:lnTo>
                            <a:pt x="261" y="1423"/>
                          </a:lnTo>
                          <a:lnTo>
                            <a:pt x="247" y="1452"/>
                          </a:lnTo>
                          <a:lnTo>
                            <a:pt x="272" y="1457"/>
                          </a:lnTo>
                          <a:close/>
                          <a:moveTo>
                            <a:pt x="1535" y="825"/>
                          </a:moveTo>
                          <a:lnTo>
                            <a:pt x="1511" y="810"/>
                          </a:lnTo>
                          <a:lnTo>
                            <a:pt x="1460" y="794"/>
                          </a:lnTo>
                          <a:lnTo>
                            <a:pt x="1451" y="811"/>
                          </a:lnTo>
                          <a:lnTo>
                            <a:pt x="1470" y="839"/>
                          </a:lnTo>
                          <a:lnTo>
                            <a:pt x="1450" y="871"/>
                          </a:lnTo>
                          <a:lnTo>
                            <a:pt x="1430" y="842"/>
                          </a:lnTo>
                          <a:lnTo>
                            <a:pt x="1405" y="862"/>
                          </a:lnTo>
                          <a:lnTo>
                            <a:pt x="1373" y="864"/>
                          </a:lnTo>
                          <a:lnTo>
                            <a:pt x="1361" y="879"/>
                          </a:lnTo>
                          <a:lnTo>
                            <a:pt x="1339" y="874"/>
                          </a:lnTo>
                          <a:lnTo>
                            <a:pt x="1356" y="845"/>
                          </a:lnTo>
                          <a:lnTo>
                            <a:pt x="1342" y="844"/>
                          </a:lnTo>
                          <a:lnTo>
                            <a:pt x="1282" y="884"/>
                          </a:lnTo>
                          <a:lnTo>
                            <a:pt x="1247" y="905"/>
                          </a:lnTo>
                          <a:lnTo>
                            <a:pt x="1242" y="934"/>
                          </a:lnTo>
                          <a:lnTo>
                            <a:pt x="1216" y="943"/>
                          </a:lnTo>
                          <a:lnTo>
                            <a:pt x="1203" y="928"/>
                          </a:lnTo>
                          <a:lnTo>
                            <a:pt x="1203" y="904"/>
                          </a:lnTo>
                          <a:lnTo>
                            <a:pt x="1224" y="897"/>
                          </a:lnTo>
                          <a:lnTo>
                            <a:pt x="1215" y="871"/>
                          </a:lnTo>
                          <a:lnTo>
                            <a:pt x="1166" y="857"/>
                          </a:lnTo>
                          <a:lnTo>
                            <a:pt x="1180" y="885"/>
                          </a:lnTo>
                          <a:lnTo>
                            <a:pt x="1170" y="913"/>
                          </a:lnTo>
                          <a:lnTo>
                            <a:pt x="1184" y="939"/>
                          </a:lnTo>
                          <a:lnTo>
                            <a:pt x="1175" y="968"/>
                          </a:lnTo>
                          <a:lnTo>
                            <a:pt x="1158" y="954"/>
                          </a:lnTo>
                          <a:lnTo>
                            <a:pt x="1143" y="951"/>
                          </a:lnTo>
                          <a:lnTo>
                            <a:pt x="1103" y="993"/>
                          </a:lnTo>
                          <a:lnTo>
                            <a:pt x="1115" y="1023"/>
                          </a:lnTo>
                          <a:lnTo>
                            <a:pt x="1100" y="1033"/>
                          </a:lnTo>
                          <a:lnTo>
                            <a:pt x="1058" y="1008"/>
                          </a:lnTo>
                          <a:lnTo>
                            <a:pt x="1048" y="1023"/>
                          </a:lnTo>
                          <a:lnTo>
                            <a:pt x="1058" y="1040"/>
                          </a:lnTo>
                          <a:lnTo>
                            <a:pt x="1055" y="1059"/>
                          </a:lnTo>
                          <a:lnTo>
                            <a:pt x="1042" y="1050"/>
                          </a:lnTo>
                          <a:lnTo>
                            <a:pt x="1020" y="1037"/>
                          </a:lnTo>
                          <a:lnTo>
                            <a:pt x="1019" y="996"/>
                          </a:lnTo>
                          <a:lnTo>
                            <a:pt x="1019" y="976"/>
                          </a:lnTo>
                          <a:lnTo>
                            <a:pt x="989" y="945"/>
                          </a:lnTo>
                          <a:lnTo>
                            <a:pt x="1003" y="939"/>
                          </a:lnTo>
                          <a:lnTo>
                            <a:pt x="1080" y="971"/>
                          </a:lnTo>
                          <a:lnTo>
                            <a:pt x="1108" y="960"/>
                          </a:lnTo>
                          <a:lnTo>
                            <a:pt x="1126" y="937"/>
                          </a:lnTo>
                          <a:lnTo>
                            <a:pt x="1126" y="908"/>
                          </a:lnTo>
                          <a:lnTo>
                            <a:pt x="1112" y="887"/>
                          </a:lnTo>
                          <a:lnTo>
                            <a:pt x="1048" y="833"/>
                          </a:lnTo>
                          <a:lnTo>
                            <a:pt x="1000" y="822"/>
                          </a:lnTo>
                          <a:lnTo>
                            <a:pt x="971" y="791"/>
                          </a:lnTo>
                          <a:lnTo>
                            <a:pt x="954" y="810"/>
                          </a:lnTo>
                          <a:lnTo>
                            <a:pt x="936" y="777"/>
                          </a:lnTo>
                          <a:lnTo>
                            <a:pt x="957" y="764"/>
                          </a:lnTo>
                          <a:lnTo>
                            <a:pt x="904" y="725"/>
                          </a:lnTo>
                          <a:lnTo>
                            <a:pt x="873" y="736"/>
                          </a:lnTo>
                          <a:lnTo>
                            <a:pt x="841" y="734"/>
                          </a:lnTo>
                          <a:lnTo>
                            <a:pt x="815" y="777"/>
                          </a:lnTo>
                          <a:lnTo>
                            <a:pt x="787" y="774"/>
                          </a:lnTo>
                          <a:lnTo>
                            <a:pt x="749" y="796"/>
                          </a:lnTo>
                          <a:lnTo>
                            <a:pt x="701" y="857"/>
                          </a:lnTo>
                          <a:lnTo>
                            <a:pt x="673" y="893"/>
                          </a:lnTo>
                          <a:lnTo>
                            <a:pt x="632" y="977"/>
                          </a:lnTo>
                          <a:lnTo>
                            <a:pt x="600" y="1034"/>
                          </a:lnTo>
                          <a:lnTo>
                            <a:pt x="566" y="1074"/>
                          </a:lnTo>
                          <a:lnTo>
                            <a:pt x="520" y="1106"/>
                          </a:lnTo>
                          <a:lnTo>
                            <a:pt x="505" y="1129"/>
                          </a:lnTo>
                          <a:lnTo>
                            <a:pt x="511" y="1211"/>
                          </a:lnTo>
                          <a:lnTo>
                            <a:pt x="517" y="1248"/>
                          </a:lnTo>
                          <a:lnTo>
                            <a:pt x="540" y="1265"/>
                          </a:lnTo>
                          <a:lnTo>
                            <a:pt x="563" y="1257"/>
                          </a:lnTo>
                          <a:lnTo>
                            <a:pt x="597" y="1219"/>
                          </a:lnTo>
                          <a:lnTo>
                            <a:pt x="609" y="1239"/>
                          </a:lnTo>
                          <a:lnTo>
                            <a:pt x="621" y="1285"/>
                          </a:lnTo>
                          <a:lnTo>
                            <a:pt x="637" y="1320"/>
                          </a:lnTo>
                          <a:lnTo>
                            <a:pt x="641" y="1349"/>
                          </a:lnTo>
                          <a:lnTo>
                            <a:pt x="661" y="1348"/>
                          </a:lnTo>
                          <a:lnTo>
                            <a:pt x="672" y="1323"/>
                          </a:lnTo>
                          <a:lnTo>
                            <a:pt x="692" y="1326"/>
                          </a:lnTo>
                          <a:lnTo>
                            <a:pt x="703" y="1297"/>
                          </a:lnTo>
                          <a:lnTo>
                            <a:pt x="709" y="1243"/>
                          </a:lnTo>
                          <a:lnTo>
                            <a:pt x="727" y="1236"/>
                          </a:lnTo>
                          <a:lnTo>
                            <a:pt x="742" y="1197"/>
                          </a:lnTo>
                          <a:lnTo>
                            <a:pt x="726" y="1177"/>
                          </a:lnTo>
                          <a:lnTo>
                            <a:pt x="713" y="1153"/>
                          </a:lnTo>
                          <a:lnTo>
                            <a:pt x="726" y="1100"/>
                          </a:lnTo>
                          <a:lnTo>
                            <a:pt x="759" y="1068"/>
                          </a:lnTo>
                          <a:lnTo>
                            <a:pt x="787" y="1037"/>
                          </a:lnTo>
                          <a:lnTo>
                            <a:pt x="784" y="1011"/>
                          </a:lnTo>
                          <a:lnTo>
                            <a:pt x="801" y="983"/>
                          </a:lnTo>
                          <a:lnTo>
                            <a:pt x="830" y="971"/>
                          </a:lnTo>
                          <a:lnTo>
                            <a:pt x="854" y="991"/>
                          </a:lnTo>
                          <a:lnTo>
                            <a:pt x="856" y="1008"/>
                          </a:lnTo>
                          <a:lnTo>
                            <a:pt x="845" y="1017"/>
                          </a:lnTo>
                          <a:lnTo>
                            <a:pt x="805" y="1060"/>
                          </a:lnTo>
                          <a:lnTo>
                            <a:pt x="790" y="1085"/>
                          </a:lnTo>
                          <a:lnTo>
                            <a:pt x="781" y="1106"/>
                          </a:lnTo>
                          <a:lnTo>
                            <a:pt x="790" y="1140"/>
                          </a:lnTo>
                          <a:lnTo>
                            <a:pt x="785" y="1176"/>
                          </a:lnTo>
                          <a:lnTo>
                            <a:pt x="802" y="1186"/>
                          </a:lnTo>
                          <a:lnTo>
                            <a:pt x="813" y="1205"/>
                          </a:lnTo>
                          <a:lnTo>
                            <a:pt x="841" y="1199"/>
                          </a:lnTo>
                          <a:lnTo>
                            <a:pt x="871" y="1185"/>
                          </a:lnTo>
                          <a:lnTo>
                            <a:pt x="902" y="1182"/>
                          </a:lnTo>
                          <a:lnTo>
                            <a:pt x="920" y="1199"/>
                          </a:lnTo>
                          <a:lnTo>
                            <a:pt x="900" y="1217"/>
                          </a:lnTo>
                          <a:lnTo>
                            <a:pt x="882" y="1219"/>
                          </a:lnTo>
                          <a:lnTo>
                            <a:pt x="864" y="1213"/>
                          </a:lnTo>
                          <a:lnTo>
                            <a:pt x="842" y="1219"/>
                          </a:lnTo>
                          <a:lnTo>
                            <a:pt x="821" y="1228"/>
                          </a:lnTo>
                          <a:lnTo>
                            <a:pt x="822" y="1246"/>
                          </a:lnTo>
                          <a:lnTo>
                            <a:pt x="833" y="1259"/>
                          </a:lnTo>
                          <a:lnTo>
                            <a:pt x="839" y="1254"/>
                          </a:lnTo>
                          <a:lnTo>
                            <a:pt x="838" y="1274"/>
                          </a:lnTo>
                          <a:lnTo>
                            <a:pt x="834" y="1299"/>
                          </a:lnTo>
                          <a:lnTo>
                            <a:pt x="821" y="1299"/>
                          </a:lnTo>
                          <a:lnTo>
                            <a:pt x="807" y="1274"/>
                          </a:lnTo>
                          <a:lnTo>
                            <a:pt x="790" y="1286"/>
                          </a:lnTo>
                          <a:lnTo>
                            <a:pt x="782" y="1306"/>
                          </a:lnTo>
                          <a:lnTo>
                            <a:pt x="781" y="1329"/>
                          </a:lnTo>
                          <a:lnTo>
                            <a:pt x="785" y="1354"/>
                          </a:lnTo>
                          <a:lnTo>
                            <a:pt x="761" y="1365"/>
                          </a:lnTo>
                          <a:lnTo>
                            <a:pt x="758" y="1377"/>
                          </a:lnTo>
                          <a:lnTo>
                            <a:pt x="741" y="1377"/>
                          </a:lnTo>
                          <a:lnTo>
                            <a:pt x="739" y="1369"/>
                          </a:lnTo>
                          <a:lnTo>
                            <a:pt x="723" y="1365"/>
                          </a:lnTo>
                          <a:lnTo>
                            <a:pt x="701" y="1375"/>
                          </a:lnTo>
                          <a:lnTo>
                            <a:pt x="673" y="1388"/>
                          </a:lnTo>
                          <a:lnTo>
                            <a:pt x="661" y="1397"/>
                          </a:lnTo>
                          <a:lnTo>
                            <a:pt x="654" y="1388"/>
                          </a:lnTo>
                          <a:lnTo>
                            <a:pt x="635" y="1375"/>
                          </a:lnTo>
                          <a:lnTo>
                            <a:pt x="624" y="1385"/>
                          </a:lnTo>
                          <a:lnTo>
                            <a:pt x="607" y="1389"/>
                          </a:lnTo>
                          <a:lnTo>
                            <a:pt x="607" y="1379"/>
                          </a:lnTo>
                          <a:lnTo>
                            <a:pt x="591" y="1372"/>
                          </a:lnTo>
                          <a:lnTo>
                            <a:pt x="589" y="1360"/>
                          </a:lnTo>
                          <a:lnTo>
                            <a:pt x="584" y="1346"/>
                          </a:lnTo>
                          <a:lnTo>
                            <a:pt x="597" y="1325"/>
                          </a:lnTo>
                          <a:lnTo>
                            <a:pt x="603" y="1328"/>
                          </a:lnTo>
                          <a:lnTo>
                            <a:pt x="607" y="1316"/>
                          </a:lnTo>
                          <a:lnTo>
                            <a:pt x="597" y="1311"/>
                          </a:lnTo>
                          <a:lnTo>
                            <a:pt x="595" y="1302"/>
                          </a:lnTo>
                          <a:lnTo>
                            <a:pt x="600" y="1292"/>
                          </a:lnTo>
                          <a:lnTo>
                            <a:pt x="601" y="1276"/>
                          </a:lnTo>
                          <a:lnTo>
                            <a:pt x="588" y="1285"/>
                          </a:lnTo>
                          <a:lnTo>
                            <a:pt x="581" y="1294"/>
                          </a:lnTo>
                          <a:lnTo>
                            <a:pt x="566" y="1296"/>
                          </a:lnTo>
                          <a:lnTo>
                            <a:pt x="561" y="1305"/>
                          </a:lnTo>
                          <a:lnTo>
                            <a:pt x="558" y="1312"/>
                          </a:lnTo>
                          <a:lnTo>
                            <a:pt x="558" y="1345"/>
                          </a:lnTo>
                          <a:lnTo>
                            <a:pt x="566" y="1362"/>
                          </a:lnTo>
                          <a:lnTo>
                            <a:pt x="566" y="1379"/>
                          </a:lnTo>
                          <a:lnTo>
                            <a:pt x="571" y="1389"/>
                          </a:lnTo>
                          <a:lnTo>
                            <a:pt x="558" y="1403"/>
                          </a:lnTo>
                          <a:lnTo>
                            <a:pt x="555" y="1397"/>
                          </a:lnTo>
                          <a:lnTo>
                            <a:pt x="542" y="1399"/>
                          </a:lnTo>
                          <a:lnTo>
                            <a:pt x="538" y="1405"/>
                          </a:lnTo>
                          <a:lnTo>
                            <a:pt x="523" y="1405"/>
                          </a:lnTo>
                          <a:lnTo>
                            <a:pt x="500" y="1415"/>
                          </a:lnTo>
                          <a:lnTo>
                            <a:pt x="485" y="1457"/>
                          </a:lnTo>
                          <a:lnTo>
                            <a:pt x="476" y="1465"/>
                          </a:lnTo>
                          <a:lnTo>
                            <a:pt x="462" y="1471"/>
                          </a:lnTo>
                          <a:lnTo>
                            <a:pt x="448" y="1475"/>
                          </a:lnTo>
                          <a:lnTo>
                            <a:pt x="442" y="1498"/>
                          </a:lnTo>
                          <a:lnTo>
                            <a:pt x="402" y="1518"/>
                          </a:lnTo>
                          <a:lnTo>
                            <a:pt x="385" y="1508"/>
                          </a:lnTo>
                          <a:lnTo>
                            <a:pt x="391" y="1537"/>
                          </a:lnTo>
                          <a:lnTo>
                            <a:pt x="362" y="1531"/>
                          </a:lnTo>
                          <a:lnTo>
                            <a:pt x="341" y="1537"/>
                          </a:lnTo>
                          <a:lnTo>
                            <a:pt x="342" y="1555"/>
                          </a:lnTo>
                          <a:lnTo>
                            <a:pt x="368" y="1565"/>
                          </a:lnTo>
                          <a:lnTo>
                            <a:pt x="380" y="1578"/>
                          </a:lnTo>
                          <a:lnTo>
                            <a:pt x="399" y="1605"/>
                          </a:lnTo>
                          <a:lnTo>
                            <a:pt x="396" y="1652"/>
                          </a:lnTo>
                          <a:lnTo>
                            <a:pt x="387" y="1668"/>
                          </a:lnTo>
                          <a:lnTo>
                            <a:pt x="359" y="1666"/>
                          </a:lnTo>
                          <a:lnTo>
                            <a:pt x="344" y="1668"/>
                          </a:lnTo>
                          <a:lnTo>
                            <a:pt x="325" y="1663"/>
                          </a:lnTo>
                          <a:lnTo>
                            <a:pt x="302" y="1663"/>
                          </a:lnTo>
                          <a:lnTo>
                            <a:pt x="282" y="1658"/>
                          </a:lnTo>
                          <a:lnTo>
                            <a:pt x="258" y="1677"/>
                          </a:lnTo>
                          <a:lnTo>
                            <a:pt x="264" y="1686"/>
                          </a:lnTo>
                          <a:lnTo>
                            <a:pt x="264" y="1703"/>
                          </a:lnTo>
                          <a:lnTo>
                            <a:pt x="264" y="1711"/>
                          </a:lnTo>
                          <a:lnTo>
                            <a:pt x="269" y="1718"/>
                          </a:lnTo>
                          <a:lnTo>
                            <a:pt x="269" y="1729"/>
                          </a:lnTo>
                          <a:lnTo>
                            <a:pt x="264" y="1741"/>
                          </a:lnTo>
                          <a:lnTo>
                            <a:pt x="264" y="1751"/>
                          </a:lnTo>
                          <a:lnTo>
                            <a:pt x="256" y="1760"/>
                          </a:lnTo>
                          <a:lnTo>
                            <a:pt x="255" y="1774"/>
                          </a:lnTo>
                          <a:lnTo>
                            <a:pt x="259" y="1781"/>
                          </a:lnTo>
                          <a:lnTo>
                            <a:pt x="267" y="1784"/>
                          </a:lnTo>
                          <a:lnTo>
                            <a:pt x="269" y="1797"/>
                          </a:lnTo>
                          <a:lnTo>
                            <a:pt x="265" y="1814"/>
                          </a:lnTo>
                          <a:lnTo>
                            <a:pt x="275" y="1812"/>
                          </a:lnTo>
                          <a:lnTo>
                            <a:pt x="284" y="1815"/>
                          </a:lnTo>
                          <a:lnTo>
                            <a:pt x="292" y="1809"/>
                          </a:lnTo>
                          <a:lnTo>
                            <a:pt x="307" y="1812"/>
                          </a:lnTo>
                          <a:lnTo>
                            <a:pt x="311" y="1824"/>
                          </a:lnTo>
                          <a:lnTo>
                            <a:pt x="318" y="1832"/>
                          </a:lnTo>
                          <a:lnTo>
                            <a:pt x="327" y="1834"/>
                          </a:lnTo>
                          <a:lnTo>
                            <a:pt x="333" y="1826"/>
                          </a:lnTo>
                          <a:lnTo>
                            <a:pt x="344" y="1818"/>
                          </a:lnTo>
                          <a:lnTo>
                            <a:pt x="361" y="1818"/>
                          </a:lnTo>
                          <a:lnTo>
                            <a:pt x="382" y="1818"/>
                          </a:lnTo>
                          <a:lnTo>
                            <a:pt x="394" y="1801"/>
                          </a:lnTo>
                          <a:lnTo>
                            <a:pt x="408" y="1798"/>
                          </a:lnTo>
                          <a:lnTo>
                            <a:pt x="411" y="1783"/>
                          </a:lnTo>
                          <a:lnTo>
                            <a:pt x="420" y="1774"/>
                          </a:lnTo>
                          <a:lnTo>
                            <a:pt x="414" y="1761"/>
                          </a:lnTo>
                          <a:lnTo>
                            <a:pt x="420" y="1743"/>
                          </a:lnTo>
                          <a:lnTo>
                            <a:pt x="431" y="1731"/>
                          </a:lnTo>
                          <a:lnTo>
                            <a:pt x="433" y="1723"/>
                          </a:lnTo>
                          <a:lnTo>
                            <a:pt x="456" y="1718"/>
                          </a:lnTo>
                          <a:lnTo>
                            <a:pt x="471" y="1703"/>
                          </a:lnTo>
                          <a:lnTo>
                            <a:pt x="471" y="1689"/>
                          </a:lnTo>
                          <a:lnTo>
                            <a:pt x="473" y="1675"/>
                          </a:lnTo>
                          <a:lnTo>
                            <a:pt x="497" y="1668"/>
                          </a:lnTo>
                          <a:lnTo>
                            <a:pt x="531" y="1674"/>
                          </a:lnTo>
                          <a:lnTo>
                            <a:pt x="548" y="1660"/>
                          </a:lnTo>
                          <a:lnTo>
                            <a:pt x="554" y="1658"/>
                          </a:lnTo>
                          <a:lnTo>
                            <a:pt x="565" y="1648"/>
                          </a:lnTo>
                          <a:lnTo>
                            <a:pt x="572" y="1644"/>
                          </a:lnTo>
                          <a:lnTo>
                            <a:pt x="586" y="1652"/>
                          </a:lnTo>
                          <a:lnTo>
                            <a:pt x="595" y="1655"/>
                          </a:lnTo>
                          <a:lnTo>
                            <a:pt x="600" y="1678"/>
                          </a:lnTo>
                          <a:lnTo>
                            <a:pt x="612" y="1692"/>
                          </a:lnTo>
                          <a:lnTo>
                            <a:pt x="627" y="1708"/>
                          </a:lnTo>
                          <a:lnTo>
                            <a:pt x="641" y="1717"/>
                          </a:lnTo>
                          <a:lnTo>
                            <a:pt x="654" y="1718"/>
                          </a:lnTo>
                          <a:lnTo>
                            <a:pt x="661" y="1727"/>
                          </a:lnTo>
                          <a:lnTo>
                            <a:pt x="672" y="1732"/>
                          </a:lnTo>
                          <a:lnTo>
                            <a:pt x="677" y="1741"/>
                          </a:lnTo>
                          <a:lnTo>
                            <a:pt x="684" y="1744"/>
                          </a:lnTo>
                          <a:lnTo>
                            <a:pt x="689" y="1757"/>
                          </a:lnTo>
                          <a:lnTo>
                            <a:pt x="696" y="1769"/>
                          </a:lnTo>
                          <a:lnTo>
                            <a:pt x="692" y="1774"/>
                          </a:lnTo>
                          <a:lnTo>
                            <a:pt x="689" y="1786"/>
                          </a:lnTo>
                          <a:lnTo>
                            <a:pt x="689" y="1792"/>
                          </a:lnTo>
                          <a:lnTo>
                            <a:pt x="696" y="1791"/>
                          </a:lnTo>
                          <a:lnTo>
                            <a:pt x="706" y="1772"/>
                          </a:lnTo>
                          <a:lnTo>
                            <a:pt x="712" y="1771"/>
                          </a:lnTo>
                          <a:lnTo>
                            <a:pt x="715" y="1758"/>
                          </a:lnTo>
                          <a:lnTo>
                            <a:pt x="703" y="1751"/>
                          </a:lnTo>
                          <a:lnTo>
                            <a:pt x="709" y="1735"/>
                          </a:lnTo>
                          <a:lnTo>
                            <a:pt x="724" y="1740"/>
                          </a:lnTo>
                          <a:lnTo>
                            <a:pt x="733" y="1751"/>
                          </a:lnTo>
                          <a:lnTo>
                            <a:pt x="736" y="1741"/>
                          </a:lnTo>
                          <a:lnTo>
                            <a:pt x="735" y="1738"/>
                          </a:lnTo>
                          <a:lnTo>
                            <a:pt x="721" y="1726"/>
                          </a:lnTo>
                          <a:lnTo>
                            <a:pt x="707" y="1720"/>
                          </a:lnTo>
                          <a:lnTo>
                            <a:pt x="692" y="1711"/>
                          </a:lnTo>
                          <a:lnTo>
                            <a:pt x="698" y="1706"/>
                          </a:lnTo>
                          <a:lnTo>
                            <a:pt x="693" y="1701"/>
                          </a:lnTo>
                          <a:lnTo>
                            <a:pt x="680" y="1701"/>
                          </a:lnTo>
                          <a:lnTo>
                            <a:pt x="661" y="1683"/>
                          </a:lnTo>
                          <a:lnTo>
                            <a:pt x="652" y="1663"/>
                          </a:lnTo>
                          <a:lnTo>
                            <a:pt x="635" y="1651"/>
                          </a:lnTo>
                          <a:lnTo>
                            <a:pt x="630" y="1638"/>
                          </a:lnTo>
                          <a:lnTo>
                            <a:pt x="632" y="1632"/>
                          </a:lnTo>
                          <a:lnTo>
                            <a:pt x="630" y="1620"/>
                          </a:lnTo>
                          <a:lnTo>
                            <a:pt x="646" y="1611"/>
                          </a:lnTo>
                          <a:lnTo>
                            <a:pt x="658" y="1615"/>
                          </a:lnTo>
                          <a:lnTo>
                            <a:pt x="655" y="1617"/>
                          </a:lnTo>
                          <a:lnTo>
                            <a:pt x="655" y="1617"/>
                          </a:lnTo>
                          <a:lnTo>
                            <a:pt x="654" y="1626"/>
                          </a:lnTo>
                          <a:lnTo>
                            <a:pt x="660" y="1634"/>
                          </a:lnTo>
                          <a:lnTo>
                            <a:pt x="664" y="1623"/>
                          </a:lnTo>
                          <a:lnTo>
                            <a:pt x="675" y="1628"/>
                          </a:lnTo>
                          <a:lnTo>
                            <a:pt x="675" y="1635"/>
                          </a:lnTo>
                          <a:lnTo>
                            <a:pt x="684" y="1646"/>
                          </a:lnTo>
                          <a:lnTo>
                            <a:pt x="680" y="1648"/>
                          </a:lnTo>
                          <a:lnTo>
                            <a:pt x="695" y="1664"/>
                          </a:lnTo>
                          <a:lnTo>
                            <a:pt x="710" y="1672"/>
                          </a:lnTo>
                          <a:lnTo>
                            <a:pt x="721" y="1680"/>
                          </a:lnTo>
                          <a:lnTo>
                            <a:pt x="736" y="1689"/>
                          </a:lnTo>
                          <a:lnTo>
                            <a:pt x="736" y="1689"/>
                          </a:lnTo>
                          <a:lnTo>
                            <a:pt x="744" y="1694"/>
                          </a:lnTo>
                          <a:lnTo>
                            <a:pt x="749" y="1701"/>
                          </a:lnTo>
                          <a:lnTo>
                            <a:pt x="752" y="1703"/>
                          </a:lnTo>
                          <a:lnTo>
                            <a:pt x="755" y="1706"/>
                          </a:lnTo>
                          <a:lnTo>
                            <a:pt x="753" y="1714"/>
                          </a:lnTo>
                          <a:lnTo>
                            <a:pt x="752" y="1729"/>
                          </a:lnTo>
                          <a:lnTo>
                            <a:pt x="753" y="1740"/>
                          </a:lnTo>
                          <a:lnTo>
                            <a:pt x="762" y="1747"/>
                          </a:lnTo>
                          <a:lnTo>
                            <a:pt x="762" y="1752"/>
                          </a:lnTo>
                          <a:lnTo>
                            <a:pt x="765" y="1754"/>
                          </a:lnTo>
                          <a:lnTo>
                            <a:pt x="767" y="1760"/>
                          </a:lnTo>
                          <a:lnTo>
                            <a:pt x="776" y="1774"/>
                          </a:lnTo>
                          <a:lnTo>
                            <a:pt x="782" y="1783"/>
                          </a:lnTo>
                          <a:lnTo>
                            <a:pt x="785" y="1798"/>
                          </a:lnTo>
                          <a:lnTo>
                            <a:pt x="792" y="1815"/>
                          </a:lnTo>
                          <a:lnTo>
                            <a:pt x="805" y="1824"/>
                          </a:lnTo>
                          <a:lnTo>
                            <a:pt x="818" y="1824"/>
                          </a:lnTo>
                          <a:lnTo>
                            <a:pt x="811" y="1804"/>
                          </a:lnTo>
                          <a:lnTo>
                            <a:pt x="822" y="1803"/>
                          </a:lnTo>
                          <a:lnTo>
                            <a:pt x="816" y="1792"/>
                          </a:lnTo>
                          <a:lnTo>
                            <a:pt x="833" y="1797"/>
                          </a:lnTo>
                          <a:lnTo>
                            <a:pt x="833" y="1784"/>
                          </a:lnTo>
                          <a:lnTo>
                            <a:pt x="824" y="1778"/>
                          </a:lnTo>
                          <a:lnTo>
                            <a:pt x="815" y="1769"/>
                          </a:lnTo>
                          <a:lnTo>
                            <a:pt x="821" y="1764"/>
                          </a:lnTo>
                          <a:lnTo>
                            <a:pt x="811" y="1754"/>
                          </a:lnTo>
                          <a:lnTo>
                            <a:pt x="808" y="1740"/>
                          </a:lnTo>
                          <a:lnTo>
                            <a:pt x="811" y="1735"/>
                          </a:lnTo>
                          <a:lnTo>
                            <a:pt x="821" y="1746"/>
                          </a:lnTo>
                          <a:lnTo>
                            <a:pt x="830" y="1746"/>
                          </a:lnTo>
                          <a:lnTo>
                            <a:pt x="839" y="1743"/>
                          </a:lnTo>
                          <a:lnTo>
                            <a:pt x="827" y="1731"/>
                          </a:lnTo>
                          <a:lnTo>
                            <a:pt x="848" y="1724"/>
                          </a:lnTo>
                          <a:lnTo>
                            <a:pt x="858" y="1726"/>
                          </a:lnTo>
                          <a:lnTo>
                            <a:pt x="867" y="1727"/>
                          </a:lnTo>
                          <a:lnTo>
                            <a:pt x="867" y="1732"/>
                          </a:lnTo>
                          <a:lnTo>
                            <a:pt x="873" y="1743"/>
                          </a:lnTo>
                          <a:lnTo>
                            <a:pt x="887" y="1731"/>
                          </a:lnTo>
                          <a:lnTo>
                            <a:pt x="894" y="1723"/>
                          </a:lnTo>
                          <a:lnTo>
                            <a:pt x="914" y="1721"/>
                          </a:lnTo>
                          <a:lnTo>
                            <a:pt x="917" y="1717"/>
                          </a:lnTo>
                          <a:lnTo>
                            <a:pt x="902" y="1709"/>
                          </a:lnTo>
                          <a:lnTo>
                            <a:pt x="900" y="1700"/>
                          </a:lnTo>
                          <a:lnTo>
                            <a:pt x="896" y="1688"/>
                          </a:lnTo>
                          <a:lnTo>
                            <a:pt x="902" y="1671"/>
                          </a:lnTo>
                          <a:lnTo>
                            <a:pt x="910" y="1660"/>
                          </a:lnTo>
                          <a:lnTo>
                            <a:pt x="916" y="1631"/>
                          </a:lnTo>
                          <a:lnTo>
                            <a:pt x="920" y="1634"/>
                          </a:lnTo>
                          <a:lnTo>
                            <a:pt x="928" y="1628"/>
                          </a:lnTo>
                          <a:lnTo>
                            <a:pt x="928" y="1621"/>
                          </a:lnTo>
                          <a:lnTo>
                            <a:pt x="942" y="1605"/>
                          </a:lnTo>
                          <a:lnTo>
                            <a:pt x="948" y="1591"/>
                          </a:lnTo>
                          <a:lnTo>
                            <a:pt x="963" y="1588"/>
                          </a:lnTo>
                          <a:lnTo>
                            <a:pt x="965" y="1597"/>
                          </a:lnTo>
                          <a:lnTo>
                            <a:pt x="992" y="1603"/>
                          </a:lnTo>
                          <a:lnTo>
                            <a:pt x="997" y="1608"/>
                          </a:lnTo>
                          <a:lnTo>
                            <a:pt x="980" y="1617"/>
                          </a:lnTo>
                          <a:lnTo>
                            <a:pt x="977" y="1621"/>
                          </a:lnTo>
                          <a:lnTo>
                            <a:pt x="996" y="1628"/>
                          </a:lnTo>
                          <a:lnTo>
                            <a:pt x="992" y="1640"/>
                          </a:lnTo>
                          <a:lnTo>
                            <a:pt x="1002" y="1644"/>
                          </a:lnTo>
                          <a:lnTo>
                            <a:pt x="1025" y="1631"/>
                          </a:lnTo>
                          <a:lnTo>
                            <a:pt x="1045" y="1626"/>
                          </a:lnTo>
                          <a:lnTo>
                            <a:pt x="1048" y="1617"/>
                          </a:lnTo>
                          <a:lnTo>
                            <a:pt x="1029" y="1618"/>
                          </a:lnTo>
                          <a:lnTo>
                            <a:pt x="1022" y="1614"/>
                          </a:lnTo>
                          <a:lnTo>
                            <a:pt x="1020" y="1598"/>
                          </a:lnTo>
                          <a:lnTo>
                            <a:pt x="1035" y="1589"/>
                          </a:lnTo>
                          <a:lnTo>
                            <a:pt x="1052" y="1588"/>
                          </a:lnTo>
                          <a:lnTo>
                            <a:pt x="1063" y="1578"/>
                          </a:lnTo>
                          <a:lnTo>
                            <a:pt x="1077" y="1577"/>
                          </a:lnTo>
                          <a:lnTo>
                            <a:pt x="1092" y="1572"/>
                          </a:lnTo>
                          <a:lnTo>
                            <a:pt x="1092" y="1578"/>
                          </a:lnTo>
                          <a:lnTo>
                            <a:pt x="1068" y="1589"/>
                          </a:lnTo>
                          <a:lnTo>
                            <a:pt x="1077" y="1598"/>
                          </a:lnTo>
                          <a:lnTo>
                            <a:pt x="1063" y="1620"/>
                          </a:lnTo>
                          <a:lnTo>
                            <a:pt x="1051" y="1623"/>
                          </a:lnTo>
                          <a:lnTo>
                            <a:pt x="1065" y="1637"/>
                          </a:lnTo>
                          <a:lnTo>
                            <a:pt x="1085" y="1646"/>
                          </a:lnTo>
                          <a:lnTo>
                            <a:pt x="1106" y="1666"/>
                          </a:lnTo>
                          <a:lnTo>
                            <a:pt x="1112" y="1674"/>
                          </a:lnTo>
                          <a:lnTo>
                            <a:pt x="1123" y="1677"/>
                          </a:lnTo>
                          <a:lnTo>
                            <a:pt x="1132" y="1684"/>
                          </a:lnTo>
                          <a:lnTo>
                            <a:pt x="1137" y="1701"/>
                          </a:lnTo>
                          <a:lnTo>
                            <a:pt x="1134" y="1711"/>
                          </a:lnTo>
                          <a:lnTo>
                            <a:pt x="1114" y="1723"/>
                          </a:lnTo>
                          <a:lnTo>
                            <a:pt x="1098" y="1721"/>
                          </a:lnTo>
                          <a:lnTo>
                            <a:pt x="1078" y="1724"/>
                          </a:lnTo>
                          <a:lnTo>
                            <a:pt x="1054" y="1715"/>
                          </a:lnTo>
                          <a:lnTo>
                            <a:pt x="1025" y="1700"/>
                          </a:lnTo>
                          <a:lnTo>
                            <a:pt x="996" y="1700"/>
                          </a:lnTo>
                          <a:lnTo>
                            <a:pt x="976" y="1706"/>
                          </a:lnTo>
                          <a:lnTo>
                            <a:pt x="956" y="1721"/>
                          </a:lnTo>
                          <a:lnTo>
                            <a:pt x="922" y="1718"/>
                          </a:lnTo>
                          <a:lnTo>
                            <a:pt x="914" y="1735"/>
                          </a:lnTo>
                          <a:lnTo>
                            <a:pt x="888" y="1737"/>
                          </a:lnTo>
                          <a:lnTo>
                            <a:pt x="870" y="1758"/>
                          </a:lnTo>
                          <a:lnTo>
                            <a:pt x="881" y="1769"/>
                          </a:lnTo>
                          <a:lnTo>
                            <a:pt x="871" y="1786"/>
                          </a:lnTo>
                          <a:lnTo>
                            <a:pt x="885" y="1798"/>
                          </a:lnTo>
                          <a:lnTo>
                            <a:pt x="894" y="1818"/>
                          </a:lnTo>
                          <a:lnTo>
                            <a:pt x="914" y="1818"/>
                          </a:lnTo>
                          <a:lnTo>
                            <a:pt x="930" y="1830"/>
                          </a:lnTo>
                          <a:lnTo>
                            <a:pt x="942" y="1827"/>
                          </a:lnTo>
                          <a:lnTo>
                            <a:pt x="946" y="1818"/>
                          </a:lnTo>
                          <a:lnTo>
                            <a:pt x="965" y="1820"/>
                          </a:lnTo>
                          <a:lnTo>
                            <a:pt x="979" y="1830"/>
                          </a:lnTo>
                          <a:lnTo>
                            <a:pt x="1005" y="1829"/>
                          </a:lnTo>
                          <a:lnTo>
                            <a:pt x="1017" y="1817"/>
                          </a:lnTo>
                          <a:lnTo>
                            <a:pt x="1031" y="1821"/>
                          </a:lnTo>
                          <a:lnTo>
                            <a:pt x="1042" y="1820"/>
                          </a:lnTo>
                          <a:lnTo>
                            <a:pt x="1035" y="1827"/>
                          </a:lnTo>
                          <a:lnTo>
                            <a:pt x="1042" y="1837"/>
                          </a:lnTo>
                          <a:lnTo>
                            <a:pt x="1046" y="1832"/>
                          </a:lnTo>
                          <a:lnTo>
                            <a:pt x="1051" y="1827"/>
                          </a:lnTo>
                          <a:lnTo>
                            <a:pt x="1051" y="1815"/>
                          </a:lnTo>
                          <a:lnTo>
                            <a:pt x="1057" y="1820"/>
                          </a:lnTo>
                          <a:lnTo>
                            <a:pt x="1075" y="1814"/>
                          </a:lnTo>
                          <a:lnTo>
                            <a:pt x="1085" y="1818"/>
                          </a:lnTo>
                          <a:lnTo>
                            <a:pt x="1100" y="1818"/>
                          </a:lnTo>
                          <a:lnTo>
                            <a:pt x="1120" y="1809"/>
                          </a:lnTo>
                          <a:lnTo>
                            <a:pt x="1129" y="1811"/>
                          </a:lnTo>
                          <a:lnTo>
                            <a:pt x="1147" y="1806"/>
                          </a:lnTo>
                          <a:lnTo>
                            <a:pt x="1155" y="1803"/>
                          </a:lnTo>
                          <a:lnTo>
                            <a:pt x="1175" y="1806"/>
                          </a:lnTo>
                          <a:lnTo>
                            <a:pt x="1181" y="1812"/>
                          </a:lnTo>
                          <a:lnTo>
                            <a:pt x="1189" y="1807"/>
                          </a:lnTo>
                          <a:lnTo>
                            <a:pt x="1180" y="1791"/>
                          </a:lnTo>
                          <a:lnTo>
                            <a:pt x="1184" y="1784"/>
                          </a:lnTo>
                          <a:lnTo>
                            <a:pt x="1178" y="1758"/>
                          </a:lnTo>
                          <a:lnTo>
                            <a:pt x="1190" y="1752"/>
                          </a:lnTo>
                          <a:lnTo>
                            <a:pt x="1192" y="1761"/>
                          </a:lnTo>
                          <a:lnTo>
                            <a:pt x="1201" y="1771"/>
                          </a:lnTo>
                          <a:lnTo>
                            <a:pt x="1213" y="1774"/>
                          </a:lnTo>
                          <a:lnTo>
                            <a:pt x="1219" y="1774"/>
                          </a:lnTo>
                          <a:lnTo>
                            <a:pt x="1239" y="1757"/>
                          </a:lnTo>
                          <a:lnTo>
                            <a:pt x="1246" y="1755"/>
                          </a:lnTo>
                          <a:lnTo>
                            <a:pt x="1252" y="1761"/>
                          </a:lnTo>
                          <a:lnTo>
                            <a:pt x="1246" y="1772"/>
                          </a:lnTo>
                          <a:lnTo>
                            <a:pt x="1256" y="1784"/>
                          </a:lnTo>
                          <a:lnTo>
                            <a:pt x="1261" y="1783"/>
                          </a:lnTo>
                          <a:lnTo>
                            <a:pt x="1259" y="1772"/>
                          </a:lnTo>
                          <a:lnTo>
                            <a:pt x="1266" y="1767"/>
                          </a:lnTo>
                          <a:lnTo>
                            <a:pt x="1269" y="1760"/>
                          </a:lnTo>
                          <a:lnTo>
                            <a:pt x="1272" y="1741"/>
                          </a:lnTo>
                          <a:lnTo>
                            <a:pt x="1285" y="1740"/>
                          </a:lnTo>
                          <a:lnTo>
                            <a:pt x="1281" y="1734"/>
                          </a:lnTo>
                          <a:lnTo>
                            <a:pt x="1273" y="1732"/>
                          </a:lnTo>
                          <a:lnTo>
                            <a:pt x="1264" y="1717"/>
                          </a:lnTo>
                          <a:lnTo>
                            <a:pt x="1255" y="1704"/>
                          </a:lnTo>
                          <a:lnTo>
                            <a:pt x="1236" y="1677"/>
                          </a:lnTo>
                          <a:lnTo>
                            <a:pt x="1238" y="1661"/>
                          </a:lnTo>
                          <a:lnTo>
                            <a:pt x="1223" y="1638"/>
                          </a:lnTo>
                          <a:lnTo>
                            <a:pt x="1239" y="1614"/>
                          </a:lnTo>
                          <a:lnTo>
                            <a:pt x="1256" y="1609"/>
                          </a:lnTo>
                          <a:lnTo>
                            <a:pt x="1264" y="1595"/>
                          </a:lnTo>
                          <a:lnTo>
                            <a:pt x="1255" y="1591"/>
                          </a:lnTo>
                          <a:lnTo>
                            <a:pt x="1256" y="1578"/>
                          </a:lnTo>
                          <a:lnTo>
                            <a:pt x="1246" y="1560"/>
                          </a:lnTo>
                          <a:lnTo>
                            <a:pt x="1233" y="1561"/>
                          </a:lnTo>
                          <a:lnTo>
                            <a:pt x="1218" y="1545"/>
                          </a:lnTo>
                          <a:lnTo>
                            <a:pt x="1229" y="1525"/>
                          </a:lnTo>
                          <a:lnTo>
                            <a:pt x="1224" y="1518"/>
                          </a:lnTo>
                          <a:lnTo>
                            <a:pt x="1238" y="1489"/>
                          </a:lnTo>
                          <a:lnTo>
                            <a:pt x="1255" y="1505"/>
                          </a:lnTo>
                          <a:lnTo>
                            <a:pt x="1258" y="1486"/>
                          </a:lnTo>
                          <a:lnTo>
                            <a:pt x="1293" y="1455"/>
                          </a:lnTo>
                          <a:lnTo>
                            <a:pt x="1319" y="1455"/>
                          </a:lnTo>
                          <a:lnTo>
                            <a:pt x="1358" y="1474"/>
                          </a:lnTo>
                          <a:lnTo>
                            <a:pt x="1377" y="1485"/>
                          </a:lnTo>
                          <a:lnTo>
                            <a:pt x="1396" y="1474"/>
                          </a:lnTo>
                          <a:lnTo>
                            <a:pt x="1423" y="1472"/>
                          </a:lnTo>
                          <a:lnTo>
                            <a:pt x="1445" y="1488"/>
                          </a:lnTo>
                          <a:lnTo>
                            <a:pt x="1451" y="1478"/>
                          </a:lnTo>
                          <a:lnTo>
                            <a:pt x="1474" y="1480"/>
                          </a:lnTo>
                          <a:lnTo>
                            <a:pt x="1479" y="1468"/>
                          </a:lnTo>
                          <a:lnTo>
                            <a:pt x="1451" y="1448"/>
                          </a:lnTo>
                          <a:lnTo>
                            <a:pt x="1453" y="1446"/>
                          </a:lnTo>
                          <a:lnTo>
                            <a:pt x="1451" y="1446"/>
                          </a:lnTo>
                          <a:lnTo>
                            <a:pt x="1446" y="1434"/>
                          </a:lnTo>
                          <a:lnTo>
                            <a:pt x="1436" y="1429"/>
                          </a:lnTo>
                          <a:lnTo>
                            <a:pt x="1434" y="1414"/>
                          </a:lnTo>
                          <a:lnTo>
                            <a:pt x="1442" y="1400"/>
                          </a:lnTo>
                          <a:lnTo>
                            <a:pt x="1450" y="1391"/>
                          </a:lnTo>
                          <a:lnTo>
                            <a:pt x="1445" y="1380"/>
                          </a:lnTo>
                          <a:lnTo>
                            <a:pt x="1434" y="1374"/>
                          </a:lnTo>
                          <a:lnTo>
                            <a:pt x="1422" y="1382"/>
                          </a:lnTo>
                          <a:lnTo>
                            <a:pt x="1411" y="1391"/>
                          </a:lnTo>
                          <a:lnTo>
                            <a:pt x="1399" y="1375"/>
                          </a:lnTo>
                          <a:lnTo>
                            <a:pt x="1393" y="1365"/>
                          </a:lnTo>
                          <a:lnTo>
                            <a:pt x="1384" y="1349"/>
                          </a:lnTo>
                          <a:lnTo>
                            <a:pt x="1404" y="1348"/>
                          </a:lnTo>
                          <a:lnTo>
                            <a:pt x="1419" y="1343"/>
                          </a:lnTo>
                          <a:lnTo>
                            <a:pt x="1430" y="1328"/>
                          </a:lnTo>
                          <a:lnTo>
                            <a:pt x="1427" y="1314"/>
                          </a:lnTo>
                          <a:lnTo>
                            <a:pt x="1414" y="1303"/>
                          </a:lnTo>
                          <a:lnTo>
                            <a:pt x="1417" y="1288"/>
                          </a:lnTo>
                          <a:lnTo>
                            <a:pt x="1431" y="1271"/>
                          </a:lnTo>
                          <a:lnTo>
                            <a:pt x="1442" y="1249"/>
                          </a:lnTo>
                          <a:lnTo>
                            <a:pt x="1453" y="1219"/>
                          </a:lnTo>
                          <a:lnTo>
                            <a:pt x="1460" y="1165"/>
                          </a:lnTo>
                          <a:lnTo>
                            <a:pt x="1473" y="1042"/>
                          </a:lnTo>
                          <a:lnTo>
                            <a:pt x="1505" y="1017"/>
                          </a:lnTo>
                          <a:lnTo>
                            <a:pt x="1534" y="983"/>
                          </a:lnTo>
                          <a:lnTo>
                            <a:pt x="1558" y="963"/>
                          </a:lnTo>
                          <a:lnTo>
                            <a:pt x="1581" y="940"/>
                          </a:lnTo>
                          <a:lnTo>
                            <a:pt x="1594" y="916"/>
                          </a:lnTo>
                          <a:lnTo>
                            <a:pt x="1588" y="870"/>
                          </a:lnTo>
                          <a:lnTo>
                            <a:pt x="1535" y="825"/>
                          </a:lnTo>
                          <a:close/>
                          <a:moveTo>
                            <a:pt x="569" y="1726"/>
                          </a:moveTo>
                          <a:lnTo>
                            <a:pt x="560" y="1724"/>
                          </a:lnTo>
                          <a:lnTo>
                            <a:pt x="563" y="1737"/>
                          </a:lnTo>
                          <a:lnTo>
                            <a:pt x="565" y="1764"/>
                          </a:lnTo>
                          <a:lnTo>
                            <a:pt x="571" y="1771"/>
                          </a:lnTo>
                          <a:lnTo>
                            <a:pt x="577" y="1763"/>
                          </a:lnTo>
                          <a:lnTo>
                            <a:pt x="584" y="1764"/>
                          </a:lnTo>
                          <a:lnTo>
                            <a:pt x="588" y="1735"/>
                          </a:lnTo>
                          <a:lnTo>
                            <a:pt x="577" y="1718"/>
                          </a:lnTo>
                          <a:lnTo>
                            <a:pt x="569" y="1726"/>
                          </a:lnTo>
                          <a:close/>
                          <a:moveTo>
                            <a:pt x="578" y="1715"/>
                          </a:moveTo>
                          <a:lnTo>
                            <a:pt x="583" y="1697"/>
                          </a:lnTo>
                          <a:lnTo>
                            <a:pt x="580" y="1677"/>
                          </a:lnTo>
                          <a:lnTo>
                            <a:pt x="569" y="1686"/>
                          </a:lnTo>
                          <a:lnTo>
                            <a:pt x="566" y="1695"/>
                          </a:lnTo>
                          <a:lnTo>
                            <a:pt x="569" y="1711"/>
                          </a:lnTo>
                          <a:lnTo>
                            <a:pt x="578" y="1715"/>
                          </a:lnTo>
                          <a:close/>
                          <a:moveTo>
                            <a:pt x="627" y="1366"/>
                          </a:moveTo>
                          <a:lnTo>
                            <a:pt x="637" y="1342"/>
                          </a:lnTo>
                          <a:lnTo>
                            <a:pt x="632" y="1326"/>
                          </a:lnTo>
                          <a:lnTo>
                            <a:pt x="606" y="1337"/>
                          </a:lnTo>
                          <a:lnTo>
                            <a:pt x="609" y="1349"/>
                          </a:lnTo>
                          <a:lnTo>
                            <a:pt x="627" y="1366"/>
                          </a:lnTo>
                          <a:close/>
                        </a:path>
                      </a:pathLst>
                    </a:custGeom>
                    <a:solidFill>
                      <a:srgbClr val="1B9D91"/>
                    </a:solidFill>
                    <a:ln w="4763" cap="flat">
                      <a:solidFill>
                        <a:srgbClr val="FFFFFF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endParaRPr lang="en-US" sz="1000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4" name="Oceania" descr="{&quot;Key&quot;:&quot;oceania&quot;,&quot;Name&quot;:&quot;Oceania&quot;,&quot;Value&quot;:1.0,&quot;Formula&quot;:&quot;&quot;,&quot;Text&quot;:&quot;&quot;,&quot;OfficeApplication&quot;:1,&quot;HasValue&quot;:true}">
                      <a:extLst>
                        <a:ext uri="{FF2B5EF4-FFF2-40B4-BE49-F238E27FC236}">
                          <a16:creationId xmlns:a16="http://schemas.microsoft.com/office/drawing/2014/main" id="{1221ADAA-B219-42BC-BB8A-15924F8D8337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789" y="2892"/>
                      <a:ext cx="1918" cy="945"/>
                    </a:xfrm>
                    <a:custGeom>
                      <a:avLst/>
                      <a:gdLst>
                        <a:gd name="T0" fmla="*/ 1695 w 1918"/>
                        <a:gd name="T1" fmla="*/ 230 h 945"/>
                        <a:gd name="T2" fmla="*/ 0 w 1918"/>
                        <a:gd name="T3" fmla="*/ 931 h 945"/>
                        <a:gd name="T4" fmla="*/ 1563 w 1918"/>
                        <a:gd name="T5" fmla="*/ 123 h 945"/>
                        <a:gd name="T6" fmla="*/ 1517 w 1918"/>
                        <a:gd name="T7" fmla="*/ 81 h 945"/>
                        <a:gd name="T8" fmla="*/ 1542 w 1918"/>
                        <a:gd name="T9" fmla="*/ 83 h 945"/>
                        <a:gd name="T10" fmla="*/ 1600 w 1918"/>
                        <a:gd name="T11" fmla="*/ 144 h 945"/>
                        <a:gd name="T12" fmla="*/ 1580 w 1918"/>
                        <a:gd name="T13" fmla="*/ 101 h 945"/>
                        <a:gd name="T14" fmla="*/ 1293 w 1918"/>
                        <a:gd name="T15" fmla="*/ 93 h 945"/>
                        <a:gd name="T16" fmla="*/ 1399 w 1918"/>
                        <a:gd name="T17" fmla="*/ 141 h 945"/>
                        <a:gd name="T18" fmla="*/ 1366 w 1918"/>
                        <a:gd name="T19" fmla="*/ 95 h 945"/>
                        <a:gd name="T20" fmla="*/ 1306 w 1918"/>
                        <a:gd name="T21" fmla="*/ 24 h 945"/>
                        <a:gd name="T22" fmla="*/ 1421 w 1918"/>
                        <a:gd name="T23" fmla="*/ 58 h 945"/>
                        <a:gd name="T24" fmla="*/ 1418 w 1918"/>
                        <a:gd name="T25" fmla="*/ 46 h 945"/>
                        <a:gd name="T26" fmla="*/ 1370 w 1918"/>
                        <a:gd name="T27" fmla="*/ 56 h 945"/>
                        <a:gd name="T28" fmla="*/ 1450 w 1918"/>
                        <a:gd name="T29" fmla="*/ 26 h 945"/>
                        <a:gd name="T30" fmla="*/ 1431 w 1918"/>
                        <a:gd name="T31" fmla="*/ 17 h 945"/>
                        <a:gd name="T32" fmla="*/ 1499 w 1918"/>
                        <a:gd name="T33" fmla="*/ 75 h 945"/>
                        <a:gd name="T34" fmla="*/ 1778 w 1918"/>
                        <a:gd name="T35" fmla="*/ 728 h 945"/>
                        <a:gd name="T36" fmla="*/ 1692 w 1918"/>
                        <a:gd name="T37" fmla="*/ 827 h 945"/>
                        <a:gd name="T38" fmla="*/ 1763 w 1918"/>
                        <a:gd name="T39" fmla="*/ 821 h 945"/>
                        <a:gd name="T40" fmla="*/ 1815 w 1918"/>
                        <a:gd name="T41" fmla="*/ 738 h 945"/>
                        <a:gd name="T42" fmla="*/ 1821 w 1918"/>
                        <a:gd name="T43" fmla="*/ 622 h 945"/>
                        <a:gd name="T44" fmla="*/ 1816 w 1918"/>
                        <a:gd name="T45" fmla="*/ 635 h 945"/>
                        <a:gd name="T46" fmla="*/ 1823 w 1918"/>
                        <a:gd name="T47" fmla="*/ 736 h 945"/>
                        <a:gd name="T48" fmla="*/ 1866 w 1918"/>
                        <a:gd name="T49" fmla="*/ 688 h 945"/>
                        <a:gd name="T50" fmla="*/ 1669 w 1918"/>
                        <a:gd name="T51" fmla="*/ 327 h 945"/>
                        <a:gd name="T52" fmla="*/ 1677 w 1918"/>
                        <a:gd name="T53" fmla="*/ 347 h 945"/>
                        <a:gd name="T54" fmla="*/ 1904 w 1918"/>
                        <a:gd name="T55" fmla="*/ 250 h 945"/>
                        <a:gd name="T56" fmla="*/ 1869 w 1918"/>
                        <a:gd name="T57" fmla="*/ 273 h 945"/>
                        <a:gd name="T58" fmla="*/ 1336 w 1918"/>
                        <a:gd name="T59" fmla="*/ 733 h 945"/>
                        <a:gd name="T60" fmla="*/ 1344 w 1918"/>
                        <a:gd name="T61" fmla="*/ 791 h 945"/>
                        <a:gd name="T62" fmla="*/ 1453 w 1918"/>
                        <a:gd name="T63" fmla="*/ 421 h 945"/>
                        <a:gd name="T64" fmla="*/ 1393 w 1918"/>
                        <a:gd name="T65" fmla="*/ 350 h 945"/>
                        <a:gd name="T66" fmla="*/ 1332 w 1918"/>
                        <a:gd name="T67" fmla="*/ 267 h 945"/>
                        <a:gd name="T68" fmla="*/ 1293 w 1918"/>
                        <a:gd name="T69" fmla="*/ 209 h 945"/>
                        <a:gd name="T70" fmla="*/ 1269 w 1918"/>
                        <a:gd name="T71" fmla="*/ 141 h 945"/>
                        <a:gd name="T72" fmla="*/ 1254 w 1918"/>
                        <a:gd name="T73" fmla="*/ 204 h 945"/>
                        <a:gd name="T74" fmla="*/ 1214 w 1918"/>
                        <a:gd name="T75" fmla="*/ 259 h 945"/>
                        <a:gd name="T76" fmla="*/ 1148 w 1918"/>
                        <a:gd name="T77" fmla="*/ 212 h 945"/>
                        <a:gd name="T78" fmla="*/ 1162 w 1918"/>
                        <a:gd name="T79" fmla="*/ 166 h 945"/>
                        <a:gd name="T80" fmla="*/ 1085 w 1918"/>
                        <a:gd name="T81" fmla="*/ 152 h 945"/>
                        <a:gd name="T82" fmla="*/ 1053 w 1918"/>
                        <a:gd name="T83" fmla="*/ 193 h 945"/>
                        <a:gd name="T84" fmla="*/ 988 w 1918"/>
                        <a:gd name="T85" fmla="*/ 201 h 945"/>
                        <a:gd name="T86" fmla="*/ 948 w 1918"/>
                        <a:gd name="T87" fmla="*/ 236 h 945"/>
                        <a:gd name="T88" fmla="*/ 910 w 1918"/>
                        <a:gd name="T89" fmla="*/ 284 h 945"/>
                        <a:gd name="T90" fmla="*/ 838 w 1918"/>
                        <a:gd name="T91" fmla="*/ 321 h 945"/>
                        <a:gd name="T92" fmla="*/ 775 w 1918"/>
                        <a:gd name="T93" fmla="*/ 353 h 945"/>
                        <a:gd name="T94" fmla="*/ 783 w 1918"/>
                        <a:gd name="T95" fmla="*/ 424 h 945"/>
                        <a:gd name="T96" fmla="*/ 790 w 1918"/>
                        <a:gd name="T97" fmla="*/ 467 h 945"/>
                        <a:gd name="T98" fmla="*/ 809 w 1918"/>
                        <a:gd name="T99" fmla="*/ 562 h 945"/>
                        <a:gd name="T100" fmla="*/ 856 w 1918"/>
                        <a:gd name="T101" fmla="*/ 593 h 945"/>
                        <a:gd name="T102" fmla="*/ 945 w 1918"/>
                        <a:gd name="T103" fmla="*/ 576 h 945"/>
                        <a:gd name="T104" fmla="*/ 1077 w 1918"/>
                        <a:gd name="T105" fmla="*/ 527 h 945"/>
                        <a:gd name="T106" fmla="*/ 1157 w 1918"/>
                        <a:gd name="T107" fmla="*/ 596 h 945"/>
                        <a:gd name="T108" fmla="*/ 1188 w 1918"/>
                        <a:gd name="T109" fmla="*/ 601 h 945"/>
                        <a:gd name="T110" fmla="*/ 1237 w 1918"/>
                        <a:gd name="T111" fmla="*/ 662 h 945"/>
                        <a:gd name="T112" fmla="*/ 1321 w 1918"/>
                        <a:gd name="T113" fmla="*/ 676 h 945"/>
                        <a:gd name="T114" fmla="*/ 1399 w 1918"/>
                        <a:gd name="T115" fmla="*/ 628 h 945"/>
                        <a:gd name="T116" fmla="*/ 1451 w 1918"/>
                        <a:gd name="T117" fmla="*/ 515 h 9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1918" h="945">
                          <a:moveTo>
                            <a:pt x="1694" y="233"/>
                          </a:moveTo>
                          <a:lnTo>
                            <a:pt x="1705" y="244"/>
                          </a:lnTo>
                          <a:lnTo>
                            <a:pt x="1700" y="246"/>
                          </a:lnTo>
                          <a:lnTo>
                            <a:pt x="1694" y="238"/>
                          </a:lnTo>
                          <a:lnTo>
                            <a:pt x="1694" y="233"/>
                          </a:lnTo>
                          <a:close/>
                          <a:moveTo>
                            <a:pt x="1688" y="229"/>
                          </a:moveTo>
                          <a:lnTo>
                            <a:pt x="1691" y="229"/>
                          </a:lnTo>
                          <a:lnTo>
                            <a:pt x="1695" y="230"/>
                          </a:lnTo>
                          <a:lnTo>
                            <a:pt x="1692" y="216"/>
                          </a:lnTo>
                          <a:lnTo>
                            <a:pt x="1685" y="210"/>
                          </a:lnTo>
                          <a:lnTo>
                            <a:pt x="1685" y="224"/>
                          </a:lnTo>
                          <a:lnTo>
                            <a:pt x="1688" y="229"/>
                          </a:lnTo>
                          <a:close/>
                          <a:moveTo>
                            <a:pt x="14" y="922"/>
                          </a:moveTo>
                          <a:lnTo>
                            <a:pt x="3" y="914"/>
                          </a:lnTo>
                          <a:lnTo>
                            <a:pt x="2" y="920"/>
                          </a:lnTo>
                          <a:lnTo>
                            <a:pt x="0" y="931"/>
                          </a:lnTo>
                          <a:lnTo>
                            <a:pt x="0" y="945"/>
                          </a:lnTo>
                          <a:lnTo>
                            <a:pt x="26" y="943"/>
                          </a:lnTo>
                          <a:lnTo>
                            <a:pt x="31" y="931"/>
                          </a:lnTo>
                          <a:lnTo>
                            <a:pt x="31" y="927"/>
                          </a:lnTo>
                          <a:lnTo>
                            <a:pt x="14" y="922"/>
                          </a:lnTo>
                          <a:close/>
                          <a:moveTo>
                            <a:pt x="1577" y="120"/>
                          </a:moveTo>
                          <a:lnTo>
                            <a:pt x="1565" y="116"/>
                          </a:lnTo>
                          <a:lnTo>
                            <a:pt x="1563" y="123"/>
                          </a:lnTo>
                          <a:lnTo>
                            <a:pt x="1568" y="126"/>
                          </a:lnTo>
                          <a:lnTo>
                            <a:pt x="1579" y="127"/>
                          </a:lnTo>
                          <a:lnTo>
                            <a:pt x="1585" y="127"/>
                          </a:lnTo>
                          <a:lnTo>
                            <a:pt x="1582" y="123"/>
                          </a:lnTo>
                          <a:lnTo>
                            <a:pt x="1577" y="120"/>
                          </a:lnTo>
                          <a:close/>
                          <a:moveTo>
                            <a:pt x="1511" y="70"/>
                          </a:moveTo>
                          <a:lnTo>
                            <a:pt x="1510" y="73"/>
                          </a:lnTo>
                          <a:lnTo>
                            <a:pt x="1517" y="81"/>
                          </a:lnTo>
                          <a:lnTo>
                            <a:pt x="1525" y="84"/>
                          </a:lnTo>
                          <a:lnTo>
                            <a:pt x="1528" y="84"/>
                          </a:lnTo>
                          <a:lnTo>
                            <a:pt x="1520" y="78"/>
                          </a:lnTo>
                          <a:lnTo>
                            <a:pt x="1511" y="70"/>
                          </a:lnTo>
                          <a:close/>
                          <a:moveTo>
                            <a:pt x="1568" y="101"/>
                          </a:moveTo>
                          <a:lnTo>
                            <a:pt x="1563" y="95"/>
                          </a:lnTo>
                          <a:lnTo>
                            <a:pt x="1550" y="87"/>
                          </a:lnTo>
                          <a:lnTo>
                            <a:pt x="1542" y="83"/>
                          </a:lnTo>
                          <a:lnTo>
                            <a:pt x="1539" y="86"/>
                          </a:lnTo>
                          <a:lnTo>
                            <a:pt x="1547" y="90"/>
                          </a:lnTo>
                          <a:lnTo>
                            <a:pt x="1556" y="96"/>
                          </a:lnTo>
                          <a:lnTo>
                            <a:pt x="1570" y="104"/>
                          </a:lnTo>
                          <a:lnTo>
                            <a:pt x="1568" y="101"/>
                          </a:lnTo>
                          <a:close/>
                          <a:moveTo>
                            <a:pt x="1603" y="138"/>
                          </a:moveTo>
                          <a:lnTo>
                            <a:pt x="1593" y="133"/>
                          </a:lnTo>
                          <a:lnTo>
                            <a:pt x="1600" y="144"/>
                          </a:lnTo>
                          <a:lnTo>
                            <a:pt x="1611" y="144"/>
                          </a:lnTo>
                          <a:lnTo>
                            <a:pt x="1606" y="138"/>
                          </a:lnTo>
                          <a:lnTo>
                            <a:pt x="1603" y="138"/>
                          </a:lnTo>
                          <a:close/>
                          <a:moveTo>
                            <a:pt x="1597" y="126"/>
                          </a:moveTo>
                          <a:lnTo>
                            <a:pt x="1599" y="123"/>
                          </a:lnTo>
                          <a:lnTo>
                            <a:pt x="1593" y="115"/>
                          </a:lnTo>
                          <a:lnTo>
                            <a:pt x="1586" y="101"/>
                          </a:lnTo>
                          <a:lnTo>
                            <a:pt x="1580" y="101"/>
                          </a:lnTo>
                          <a:lnTo>
                            <a:pt x="1583" y="110"/>
                          </a:lnTo>
                          <a:lnTo>
                            <a:pt x="1597" y="126"/>
                          </a:lnTo>
                          <a:close/>
                          <a:moveTo>
                            <a:pt x="1244" y="115"/>
                          </a:moveTo>
                          <a:lnTo>
                            <a:pt x="1261" y="115"/>
                          </a:lnTo>
                          <a:lnTo>
                            <a:pt x="1272" y="118"/>
                          </a:lnTo>
                          <a:lnTo>
                            <a:pt x="1284" y="112"/>
                          </a:lnTo>
                          <a:lnTo>
                            <a:pt x="1283" y="100"/>
                          </a:lnTo>
                          <a:lnTo>
                            <a:pt x="1293" y="93"/>
                          </a:lnTo>
                          <a:lnTo>
                            <a:pt x="1307" y="89"/>
                          </a:lnTo>
                          <a:lnTo>
                            <a:pt x="1330" y="96"/>
                          </a:lnTo>
                          <a:lnTo>
                            <a:pt x="1339" y="112"/>
                          </a:lnTo>
                          <a:lnTo>
                            <a:pt x="1349" y="121"/>
                          </a:lnTo>
                          <a:lnTo>
                            <a:pt x="1362" y="132"/>
                          </a:lnTo>
                          <a:lnTo>
                            <a:pt x="1379" y="135"/>
                          </a:lnTo>
                          <a:lnTo>
                            <a:pt x="1395" y="136"/>
                          </a:lnTo>
                          <a:lnTo>
                            <a:pt x="1399" y="141"/>
                          </a:lnTo>
                          <a:lnTo>
                            <a:pt x="1410" y="140"/>
                          </a:lnTo>
                          <a:lnTo>
                            <a:pt x="1412" y="135"/>
                          </a:lnTo>
                          <a:lnTo>
                            <a:pt x="1393" y="127"/>
                          </a:lnTo>
                          <a:lnTo>
                            <a:pt x="1399" y="124"/>
                          </a:lnTo>
                          <a:lnTo>
                            <a:pt x="1385" y="121"/>
                          </a:lnTo>
                          <a:lnTo>
                            <a:pt x="1387" y="113"/>
                          </a:lnTo>
                          <a:lnTo>
                            <a:pt x="1376" y="113"/>
                          </a:lnTo>
                          <a:lnTo>
                            <a:pt x="1366" y="95"/>
                          </a:lnTo>
                          <a:lnTo>
                            <a:pt x="1350" y="84"/>
                          </a:lnTo>
                          <a:lnTo>
                            <a:pt x="1346" y="73"/>
                          </a:lnTo>
                          <a:lnTo>
                            <a:pt x="1362" y="70"/>
                          </a:lnTo>
                          <a:lnTo>
                            <a:pt x="1358" y="61"/>
                          </a:lnTo>
                          <a:lnTo>
                            <a:pt x="1329" y="50"/>
                          </a:lnTo>
                          <a:lnTo>
                            <a:pt x="1327" y="41"/>
                          </a:lnTo>
                          <a:lnTo>
                            <a:pt x="1316" y="32"/>
                          </a:lnTo>
                          <a:lnTo>
                            <a:pt x="1306" y="24"/>
                          </a:lnTo>
                          <a:lnTo>
                            <a:pt x="1274" y="13"/>
                          </a:lnTo>
                          <a:lnTo>
                            <a:pt x="1243" y="1"/>
                          </a:lnTo>
                          <a:lnTo>
                            <a:pt x="1244" y="58"/>
                          </a:lnTo>
                          <a:lnTo>
                            <a:pt x="1244" y="115"/>
                          </a:lnTo>
                          <a:close/>
                          <a:moveTo>
                            <a:pt x="1393" y="66"/>
                          </a:moveTo>
                          <a:lnTo>
                            <a:pt x="1402" y="66"/>
                          </a:lnTo>
                          <a:lnTo>
                            <a:pt x="1412" y="61"/>
                          </a:lnTo>
                          <a:lnTo>
                            <a:pt x="1421" y="58"/>
                          </a:lnTo>
                          <a:lnTo>
                            <a:pt x="1424" y="53"/>
                          </a:lnTo>
                          <a:lnTo>
                            <a:pt x="1433" y="52"/>
                          </a:lnTo>
                          <a:lnTo>
                            <a:pt x="1438" y="41"/>
                          </a:lnTo>
                          <a:lnTo>
                            <a:pt x="1439" y="32"/>
                          </a:lnTo>
                          <a:lnTo>
                            <a:pt x="1435" y="29"/>
                          </a:lnTo>
                          <a:lnTo>
                            <a:pt x="1425" y="29"/>
                          </a:lnTo>
                          <a:lnTo>
                            <a:pt x="1427" y="40"/>
                          </a:lnTo>
                          <a:lnTo>
                            <a:pt x="1418" y="46"/>
                          </a:lnTo>
                          <a:lnTo>
                            <a:pt x="1412" y="50"/>
                          </a:lnTo>
                          <a:lnTo>
                            <a:pt x="1402" y="52"/>
                          </a:lnTo>
                          <a:lnTo>
                            <a:pt x="1401" y="43"/>
                          </a:lnTo>
                          <a:lnTo>
                            <a:pt x="1398" y="44"/>
                          </a:lnTo>
                          <a:lnTo>
                            <a:pt x="1396" y="52"/>
                          </a:lnTo>
                          <a:lnTo>
                            <a:pt x="1385" y="53"/>
                          </a:lnTo>
                          <a:lnTo>
                            <a:pt x="1370" y="50"/>
                          </a:lnTo>
                          <a:lnTo>
                            <a:pt x="1370" y="56"/>
                          </a:lnTo>
                          <a:lnTo>
                            <a:pt x="1379" y="61"/>
                          </a:lnTo>
                          <a:lnTo>
                            <a:pt x="1393" y="66"/>
                          </a:lnTo>
                          <a:close/>
                          <a:moveTo>
                            <a:pt x="1431" y="17"/>
                          </a:moveTo>
                          <a:lnTo>
                            <a:pt x="1439" y="23"/>
                          </a:lnTo>
                          <a:lnTo>
                            <a:pt x="1444" y="29"/>
                          </a:lnTo>
                          <a:lnTo>
                            <a:pt x="1447" y="40"/>
                          </a:lnTo>
                          <a:lnTo>
                            <a:pt x="1453" y="35"/>
                          </a:lnTo>
                          <a:lnTo>
                            <a:pt x="1450" y="26"/>
                          </a:lnTo>
                          <a:lnTo>
                            <a:pt x="1444" y="20"/>
                          </a:lnTo>
                          <a:lnTo>
                            <a:pt x="1436" y="13"/>
                          </a:lnTo>
                          <a:lnTo>
                            <a:pt x="1430" y="9"/>
                          </a:lnTo>
                          <a:lnTo>
                            <a:pt x="1424" y="6"/>
                          </a:lnTo>
                          <a:lnTo>
                            <a:pt x="1415" y="0"/>
                          </a:lnTo>
                          <a:lnTo>
                            <a:pt x="1410" y="4"/>
                          </a:lnTo>
                          <a:lnTo>
                            <a:pt x="1422" y="9"/>
                          </a:lnTo>
                          <a:lnTo>
                            <a:pt x="1431" y="17"/>
                          </a:lnTo>
                          <a:close/>
                          <a:moveTo>
                            <a:pt x="1485" y="53"/>
                          </a:moveTo>
                          <a:lnTo>
                            <a:pt x="1481" y="49"/>
                          </a:lnTo>
                          <a:lnTo>
                            <a:pt x="1479" y="44"/>
                          </a:lnTo>
                          <a:lnTo>
                            <a:pt x="1476" y="46"/>
                          </a:lnTo>
                          <a:lnTo>
                            <a:pt x="1479" y="58"/>
                          </a:lnTo>
                          <a:lnTo>
                            <a:pt x="1487" y="70"/>
                          </a:lnTo>
                          <a:lnTo>
                            <a:pt x="1494" y="76"/>
                          </a:lnTo>
                          <a:lnTo>
                            <a:pt x="1499" y="75"/>
                          </a:lnTo>
                          <a:lnTo>
                            <a:pt x="1502" y="70"/>
                          </a:lnTo>
                          <a:lnTo>
                            <a:pt x="1494" y="64"/>
                          </a:lnTo>
                          <a:lnTo>
                            <a:pt x="1485" y="53"/>
                          </a:lnTo>
                          <a:close/>
                          <a:moveTo>
                            <a:pt x="1810" y="728"/>
                          </a:moveTo>
                          <a:lnTo>
                            <a:pt x="1798" y="738"/>
                          </a:lnTo>
                          <a:lnTo>
                            <a:pt x="1795" y="728"/>
                          </a:lnTo>
                          <a:lnTo>
                            <a:pt x="1790" y="718"/>
                          </a:lnTo>
                          <a:lnTo>
                            <a:pt x="1778" y="728"/>
                          </a:lnTo>
                          <a:lnTo>
                            <a:pt x="1775" y="741"/>
                          </a:lnTo>
                          <a:lnTo>
                            <a:pt x="1769" y="747"/>
                          </a:lnTo>
                          <a:lnTo>
                            <a:pt x="1761" y="764"/>
                          </a:lnTo>
                          <a:lnTo>
                            <a:pt x="1752" y="776"/>
                          </a:lnTo>
                          <a:lnTo>
                            <a:pt x="1737" y="788"/>
                          </a:lnTo>
                          <a:lnTo>
                            <a:pt x="1724" y="797"/>
                          </a:lnTo>
                          <a:lnTo>
                            <a:pt x="1714" y="802"/>
                          </a:lnTo>
                          <a:lnTo>
                            <a:pt x="1692" y="827"/>
                          </a:lnTo>
                          <a:lnTo>
                            <a:pt x="1682" y="844"/>
                          </a:lnTo>
                          <a:lnTo>
                            <a:pt x="1685" y="853"/>
                          </a:lnTo>
                          <a:lnTo>
                            <a:pt x="1705" y="854"/>
                          </a:lnTo>
                          <a:lnTo>
                            <a:pt x="1715" y="864"/>
                          </a:lnTo>
                          <a:lnTo>
                            <a:pt x="1731" y="864"/>
                          </a:lnTo>
                          <a:lnTo>
                            <a:pt x="1740" y="857"/>
                          </a:lnTo>
                          <a:lnTo>
                            <a:pt x="1754" y="845"/>
                          </a:lnTo>
                          <a:lnTo>
                            <a:pt x="1763" y="821"/>
                          </a:lnTo>
                          <a:lnTo>
                            <a:pt x="1767" y="805"/>
                          </a:lnTo>
                          <a:lnTo>
                            <a:pt x="1783" y="796"/>
                          </a:lnTo>
                          <a:lnTo>
                            <a:pt x="1795" y="796"/>
                          </a:lnTo>
                          <a:lnTo>
                            <a:pt x="1789" y="784"/>
                          </a:lnTo>
                          <a:lnTo>
                            <a:pt x="1798" y="774"/>
                          </a:lnTo>
                          <a:lnTo>
                            <a:pt x="1809" y="757"/>
                          </a:lnTo>
                          <a:lnTo>
                            <a:pt x="1815" y="747"/>
                          </a:lnTo>
                          <a:lnTo>
                            <a:pt x="1815" y="738"/>
                          </a:lnTo>
                          <a:lnTo>
                            <a:pt x="1810" y="728"/>
                          </a:lnTo>
                          <a:close/>
                          <a:moveTo>
                            <a:pt x="1870" y="662"/>
                          </a:moveTo>
                          <a:lnTo>
                            <a:pt x="1859" y="661"/>
                          </a:lnTo>
                          <a:lnTo>
                            <a:pt x="1844" y="653"/>
                          </a:lnTo>
                          <a:lnTo>
                            <a:pt x="1843" y="636"/>
                          </a:lnTo>
                          <a:lnTo>
                            <a:pt x="1835" y="631"/>
                          </a:lnTo>
                          <a:lnTo>
                            <a:pt x="1833" y="645"/>
                          </a:lnTo>
                          <a:lnTo>
                            <a:pt x="1821" y="622"/>
                          </a:lnTo>
                          <a:lnTo>
                            <a:pt x="1816" y="604"/>
                          </a:lnTo>
                          <a:lnTo>
                            <a:pt x="1803" y="599"/>
                          </a:lnTo>
                          <a:lnTo>
                            <a:pt x="1793" y="587"/>
                          </a:lnTo>
                          <a:lnTo>
                            <a:pt x="1787" y="588"/>
                          </a:lnTo>
                          <a:lnTo>
                            <a:pt x="1795" y="604"/>
                          </a:lnTo>
                          <a:lnTo>
                            <a:pt x="1809" y="622"/>
                          </a:lnTo>
                          <a:lnTo>
                            <a:pt x="1816" y="631"/>
                          </a:lnTo>
                          <a:lnTo>
                            <a:pt x="1816" y="635"/>
                          </a:lnTo>
                          <a:lnTo>
                            <a:pt x="1823" y="648"/>
                          </a:lnTo>
                          <a:lnTo>
                            <a:pt x="1824" y="664"/>
                          </a:lnTo>
                          <a:lnTo>
                            <a:pt x="1821" y="681"/>
                          </a:lnTo>
                          <a:lnTo>
                            <a:pt x="1809" y="688"/>
                          </a:lnTo>
                          <a:lnTo>
                            <a:pt x="1809" y="696"/>
                          </a:lnTo>
                          <a:lnTo>
                            <a:pt x="1827" y="705"/>
                          </a:lnTo>
                          <a:lnTo>
                            <a:pt x="1832" y="718"/>
                          </a:lnTo>
                          <a:lnTo>
                            <a:pt x="1823" y="736"/>
                          </a:lnTo>
                          <a:lnTo>
                            <a:pt x="1829" y="739"/>
                          </a:lnTo>
                          <a:lnTo>
                            <a:pt x="1832" y="745"/>
                          </a:lnTo>
                          <a:lnTo>
                            <a:pt x="1846" y="736"/>
                          </a:lnTo>
                          <a:lnTo>
                            <a:pt x="1855" y="721"/>
                          </a:lnTo>
                          <a:lnTo>
                            <a:pt x="1861" y="708"/>
                          </a:lnTo>
                          <a:lnTo>
                            <a:pt x="1864" y="704"/>
                          </a:lnTo>
                          <a:lnTo>
                            <a:pt x="1861" y="694"/>
                          </a:lnTo>
                          <a:lnTo>
                            <a:pt x="1866" y="688"/>
                          </a:lnTo>
                          <a:lnTo>
                            <a:pt x="1879" y="688"/>
                          </a:lnTo>
                          <a:lnTo>
                            <a:pt x="1884" y="674"/>
                          </a:lnTo>
                          <a:lnTo>
                            <a:pt x="1889" y="656"/>
                          </a:lnTo>
                          <a:lnTo>
                            <a:pt x="1879" y="653"/>
                          </a:lnTo>
                          <a:lnTo>
                            <a:pt x="1870" y="662"/>
                          </a:lnTo>
                          <a:close/>
                          <a:moveTo>
                            <a:pt x="1692" y="347"/>
                          </a:moveTo>
                          <a:lnTo>
                            <a:pt x="1683" y="338"/>
                          </a:lnTo>
                          <a:lnTo>
                            <a:pt x="1669" y="327"/>
                          </a:lnTo>
                          <a:lnTo>
                            <a:pt x="1665" y="322"/>
                          </a:lnTo>
                          <a:lnTo>
                            <a:pt x="1657" y="316"/>
                          </a:lnTo>
                          <a:lnTo>
                            <a:pt x="1646" y="309"/>
                          </a:lnTo>
                          <a:lnTo>
                            <a:pt x="1640" y="309"/>
                          </a:lnTo>
                          <a:lnTo>
                            <a:pt x="1642" y="315"/>
                          </a:lnTo>
                          <a:lnTo>
                            <a:pt x="1654" y="329"/>
                          </a:lnTo>
                          <a:lnTo>
                            <a:pt x="1665" y="338"/>
                          </a:lnTo>
                          <a:lnTo>
                            <a:pt x="1677" y="347"/>
                          </a:lnTo>
                          <a:lnTo>
                            <a:pt x="1686" y="352"/>
                          </a:lnTo>
                          <a:lnTo>
                            <a:pt x="1692" y="347"/>
                          </a:lnTo>
                          <a:close/>
                          <a:moveTo>
                            <a:pt x="1915" y="236"/>
                          </a:moveTo>
                          <a:lnTo>
                            <a:pt x="1904" y="243"/>
                          </a:lnTo>
                          <a:lnTo>
                            <a:pt x="1899" y="243"/>
                          </a:lnTo>
                          <a:lnTo>
                            <a:pt x="1890" y="247"/>
                          </a:lnTo>
                          <a:lnTo>
                            <a:pt x="1893" y="253"/>
                          </a:lnTo>
                          <a:lnTo>
                            <a:pt x="1904" y="250"/>
                          </a:lnTo>
                          <a:lnTo>
                            <a:pt x="1915" y="246"/>
                          </a:lnTo>
                          <a:lnTo>
                            <a:pt x="1916" y="244"/>
                          </a:lnTo>
                          <a:lnTo>
                            <a:pt x="1918" y="235"/>
                          </a:lnTo>
                          <a:lnTo>
                            <a:pt x="1915" y="236"/>
                          </a:lnTo>
                          <a:close/>
                          <a:moveTo>
                            <a:pt x="1882" y="262"/>
                          </a:moveTo>
                          <a:lnTo>
                            <a:pt x="1875" y="259"/>
                          </a:lnTo>
                          <a:lnTo>
                            <a:pt x="1867" y="266"/>
                          </a:lnTo>
                          <a:lnTo>
                            <a:pt x="1869" y="273"/>
                          </a:lnTo>
                          <a:lnTo>
                            <a:pt x="1879" y="276"/>
                          </a:lnTo>
                          <a:lnTo>
                            <a:pt x="1890" y="273"/>
                          </a:lnTo>
                          <a:lnTo>
                            <a:pt x="1892" y="264"/>
                          </a:lnTo>
                          <a:lnTo>
                            <a:pt x="1887" y="259"/>
                          </a:lnTo>
                          <a:lnTo>
                            <a:pt x="1882" y="262"/>
                          </a:lnTo>
                          <a:close/>
                          <a:moveTo>
                            <a:pt x="1358" y="725"/>
                          </a:moveTo>
                          <a:lnTo>
                            <a:pt x="1346" y="730"/>
                          </a:lnTo>
                          <a:lnTo>
                            <a:pt x="1336" y="733"/>
                          </a:lnTo>
                          <a:lnTo>
                            <a:pt x="1320" y="725"/>
                          </a:lnTo>
                          <a:lnTo>
                            <a:pt x="1307" y="722"/>
                          </a:lnTo>
                          <a:lnTo>
                            <a:pt x="1307" y="733"/>
                          </a:lnTo>
                          <a:lnTo>
                            <a:pt x="1318" y="753"/>
                          </a:lnTo>
                          <a:lnTo>
                            <a:pt x="1320" y="768"/>
                          </a:lnTo>
                          <a:lnTo>
                            <a:pt x="1330" y="788"/>
                          </a:lnTo>
                          <a:lnTo>
                            <a:pt x="1341" y="790"/>
                          </a:lnTo>
                          <a:lnTo>
                            <a:pt x="1344" y="791"/>
                          </a:lnTo>
                          <a:lnTo>
                            <a:pt x="1356" y="774"/>
                          </a:lnTo>
                          <a:lnTo>
                            <a:pt x="1362" y="781"/>
                          </a:lnTo>
                          <a:lnTo>
                            <a:pt x="1364" y="762"/>
                          </a:lnTo>
                          <a:lnTo>
                            <a:pt x="1370" y="754"/>
                          </a:lnTo>
                          <a:lnTo>
                            <a:pt x="1369" y="727"/>
                          </a:lnTo>
                          <a:lnTo>
                            <a:pt x="1358" y="725"/>
                          </a:lnTo>
                          <a:close/>
                          <a:moveTo>
                            <a:pt x="1453" y="432"/>
                          </a:moveTo>
                          <a:lnTo>
                            <a:pt x="1453" y="421"/>
                          </a:lnTo>
                          <a:lnTo>
                            <a:pt x="1447" y="405"/>
                          </a:lnTo>
                          <a:lnTo>
                            <a:pt x="1435" y="390"/>
                          </a:lnTo>
                          <a:lnTo>
                            <a:pt x="1425" y="382"/>
                          </a:lnTo>
                          <a:lnTo>
                            <a:pt x="1413" y="372"/>
                          </a:lnTo>
                          <a:lnTo>
                            <a:pt x="1412" y="352"/>
                          </a:lnTo>
                          <a:lnTo>
                            <a:pt x="1407" y="355"/>
                          </a:lnTo>
                          <a:lnTo>
                            <a:pt x="1399" y="346"/>
                          </a:lnTo>
                          <a:lnTo>
                            <a:pt x="1393" y="350"/>
                          </a:lnTo>
                          <a:lnTo>
                            <a:pt x="1385" y="330"/>
                          </a:lnTo>
                          <a:lnTo>
                            <a:pt x="1376" y="319"/>
                          </a:lnTo>
                          <a:lnTo>
                            <a:pt x="1378" y="315"/>
                          </a:lnTo>
                          <a:lnTo>
                            <a:pt x="1367" y="307"/>
                          </a:lnTo>
                          <a:lnTo>
                            <a:pt x="1355" y="298"/>
                          </a:lnTo>
                          <a:lnTo>
                            <a:pt x="1336" y="289"/>
                          </a:lnTo>
                          <a:lnTo>
                            <a:pt x="1330" y="276"/>
                          </a:lnTo>
                          <a:lnTo>
                            <a:pt x="1332" y="267"/>
                          </a:lnTo>
                          <a:lnTo>
                            <a:pt x="1327" y="252"/>
                          </a:lnTo>
                          <a:lnTo>
                            <a:pt x="1323" y="249"/>
                          </a:lnTo>
                          <a:lnTo>
                            <a:pt x="1321" y="239"/>
                          </a:lnTo>
                          <a:lnTo>
                            <a:pt x="1316" y="226"/>
                          </a:lnTo>
                          <a:lnTo>
                            <a:pt x="1318" y="216"/>
                          </a:lnTo>
                          <a:lnTo>
                            <a:pt x="1310" y="210"/>
                          </a:lnTo>
                          <a:lnTo>
                            <a:pt x="1304" y="203"/>
                          </a:lnTo>
                          <a:lnTo>
                            <a:pt x="1293" y="209"/>
                          </a:lnTo>
                          <a:lnTo>
                            <a:pt x="1287" y="195"/>
                          </a:lnTo>
                          <a:lnTo>
                            <a:pt x="1287" y="189"/>
                          </a:lnTo>
                          <a:lnTo>
                            <a:pt x="1287" y="179"/>
                          </a:lnTo>
                          <a:lnTo>
                            <a:pt x="1281" y="170"/>
                          </a:lnTo>
                          <a:lnTo>
                            <a:pt x="1280" y="163"/>
                          </a:lnTo>
                          <a:lnTo>
                            <a:pt x="1275" y="161"/>
                          </a:lnTo>
                          <a:lnTo>
                            <a:pt x="1275" y="150"/>
                          </a:lnTo>
                          <a:lnTo>
                            <a:pt x="1269" y="141"/>
                          </a:lnTo>
                          <a:lnTo>
                            <a:pt x="1263" y="147"/>
                          </a:lnTo>
                          <a:lnTo>
                            <a:pt x="1263" y="153"/>
                          </a:lnTo>
                          <a:lnTo>
                            <a:pt x="1260" y="163"/>
                          </a:lnTo>
                          <a:lnTo>
                            <a:pt x="1255" y="172"/>
                          </a:lnTo>
                          <a:lnTo>
                            <a:pt x="1258" y="178"/>
                          </a:lnTo>
                          <a:lnTo>
                            <a:pt x="1255" y="181"/>
                          </a:lnTo>
                          <a:lnTo>
                            <a:pt x="1252" y="195"/>
                          </a:lnTo>
                          <a:lnTo>
                            <a:pt x="1254" y="204"/>
                          </a:lnTo>
                          <a:lnTo>
                            <a:pt x="1254" y="210"/>
                          </a:lnTo>
                          <a:lnTo>
                            <a:pt x="1255" y="218"/>
                          </a:lnTo>
                          <a:lnTo>
                            <a:pt x="1250" y="232"/>
                          </a:lnTo>
                          <a:lnTo>
                            <a:pt x="1247" y="243"/>
                          </a:lnTo>
                          <a:lnTo>
                            <a:pt x="1244" y="250"/>
                          </a:lnTo>
                          <a:lnTo>
                            <a:pt x="1241" y="259"/>
                          </a:lnTo>
                          <a:lnTo>
                            <a:pt x="1231" y="266"/>
                          </a:lnTo>
                          <a:lnTo>
                            <a:pt x="1214" y="259"/>
                          </a:lnTo>
                          <a:lnTo>
                            <a:pt x="1211" y="255"/>
                          </a:lnTo>
                          <a:lnTo>
                            <a:pt x="1201" y="250"/>
                          </a:lnTo>
                          <a:lnTo>
                            <a:pt x="1197" y="250"/>
                          </a:lnTo>
                          <a:lnTo>
                            <a:pt x="1185" y="239"/>
                          </a:lnTo>
                          <a:lnTo>
                            <a:pt x="1175" y="233"/>
                          </a:lnTo>
                          <a:lnTo>
                            <a:pt x="1163" y="227"/>
                          </a:lnTo>
                          <a:lnTo>
                            <a:pt x="1149" y="218"/>
                          </a:lnTo>
                          <a:lnTo>
                            <a:pt x="1148" y="212"/>
                          </a:lnTo>
                          <a:lnTo>
                            <a:pt x="1154" y="204"/>
                          </a:lnTo>
                          <a:lnTo>
                            <a:pt x="1158" y="195"/>
                          </a:lnTo>
                          <a:lnTo>
                            <a:pt x="1157" y="187"/>
                          </a:lnTo>
                          <a:lnTo>
                            <a:pt x="1163" y="187"/>
                          </a:lnTo>
                          <a:lnTo>
                            <a:pt x="1169" y="179"/>
                          </a:lnTo>
                          <a:lnTo>
                            <a:pt x="1174" y="170"/>
                          </a:lnTo>
                          <a:lnTo>
                            <a:pt x="1166" y="163"/>
                          </a:lnTo>
                          <a:lnTo>
                            <a:pt x="1162" y="166"/>
                          </a:lnTo>
                          <a:lnTo>
                            <a:pt x="1155" y="164"/>
                          </a:lnTo>
                          <a:lnTo>
                            <a:pt x="1145" y="169"/>
                          </a:lnTo>
                          <a:lnTo>
                            <a:pt x="1134" y="163"/>
                          </a:lnTo>
                          <a:lnTo>
                            <a:pt x="1129" y="166"/>
                          </a:lnTo>
                          <a:lnTo>
                            <a:pt x="1116" y="161"/>
                          </a:lnTo>
                          <a:lnTo>
                            <a:pt x="1106" y="153"/>
                          </a:lnTo>
                          <a:lnTo>
                            <a:pt x="1094" y="149"/>
                          </a:lnTo>
                          <a:lnTo>
                            <a:pt x="1085" y="152"/>
                          </a:lnTo>
                          <a:lnTo>
                            <a:pt x="1099" y="158"/>
                          </a:lnTo>
                          <a:lnTo>
                            <a:pt x="1099" y="166"/>
                          </a:lnTo>
                          <a:lnTo>
                            <a:pt x="1083" y="170"/>
                          </a:lnTo>
                          <a:lnTo>
                            <a:pt x="1076" y="167"/>
                          </a:lnTo>
                          <a:lnTo>
                            <a:pt x="1065" y="173"/>
                          </a:lnTo>
                          <a:lnTo>
                            <a:pt x="1057" y="184"/>
                          </a:lnTo>
                          <a:lnTo>
                            <a:pt x="1060" y="189"/>
                          </a:lnTo>
                          <a:lnTo>
                            <a:pt x="1053" y="193"/>
                          </a:lnTo>
                          <a:lnTo>
                            <a:pt x="1043" y="207"/>
                          </a:lnTo>
                          <a:lnTo>
                            <a:pt x="1048" y="216"/>
                          </a:lnTo>
                          <a:lnTo>
                            <a:pt x="1037" y="215"/>
                          </a:lnTo>
                          <a:lnTo>
                            <a:pt x="1027" y="215"/>
                          </a:lnTo>
                          <a:lnTo>
                            <a:pt x="1016" y="204"/>
                          </a:lnTo>
                          <a:lnTo>
                            <a:pt x="1004" y="196"/>
                          </a:lnTo>
                          <a:lnTo>
                            <a:pt x="996" y="198"/>
                          </a:lnTo>
                          <a:lnTo>
                            <a:pt x="988" y="201"/>
                          </a:lnTo>
                          <a:lnTo>
                            <a:pt x="987" y="206"/>
                          </a:lnTo>
                          <a:lnTo>
                            <a:pt x="981" y="204"/>
                          </a:lnTo>
                          <a:lnTo>
                            <a:pt x="979" y="209"/>
                          </a:lnTo>
                          <a:lnTo>
                            <a:pt x="971" y="212"/>
                          </a:lnTo>
                          <a:lnTo>
                            <a:pt x="967" y="218"/>
                          </a:lnTo>
                          <a:lnTo>
                            <a:pt x="958" y="227"/>
                          </a:lnTo>
                          <a:lnTo>
                            <a:pt x="956" y="241"/>
                          </a:lnTo>
                          <a:lnTo>
                            <a:pt x="948" y="236"/>
                          </a:lnTo>
                          <a:lnTo>
                            <a:pt x="942" y="246"/>
                          </a:lnTo>
                          <a:lnTo>
                            <a:pt x="948" y="253"/>
                          </a:lnTo>
                          <a:lnTo>
                            <a:pt x="941" y="258"/>
                          </a:lnTo>
                          <a:lnTo>
                            <a:pt x="935" y="243"/>
                          </a:lnTo>
                          <a:lnTo>
                            <a:pt x="922" y="258"/>
                          </a:lnTo>
                          <a:lnTo>
                            <a:pt x="921" y="267"/>
                          </a:lnTo>
                          <a:lnTo>
                            <a:pt x="921" y="275"/>
                          </a:lnTo>
                          <a:lnTo>
                            <a:pt x="910" y="284"/>
                          </a:lnTo>
                          <a:lnTo>
                            <a:pt x="905" y="293"/>
                          </a:lnTo>
                          <a:lnTo>
                            <a:pt x="896" y="301"/>
                          </a:lnTo>
                          <a:lnTo>
                            <a:pt x="879" y="307"/>
                          </a:lnTo>
                          <a:lnTo>
                            <a:pt x="869" y="306"/>
                          </a:lnTo>
                          <a:lnTo>
                            <a:pt x="864" y="307"/>
                          </a:lnTo>
                          <a:lnTo>
                            <a:pt x="862" y="312"/>
                          </a:lnTo>
                          <a:lnTo>
                            <a:pt x="852" y="313"/>
                          </a:lnTo>
                          <a:lnTo>
                            <a:pt x="838" y="321"/>
                          </a:lnTo>
                          <a:lnTo>
                            <a:pt x="833" y="318"/>
                          </a:lnTo>
                          <a:lnTo>
                            <a:pt x="826" y="319"/>
                          </a:lnTo>
                          <a:lnTo>
                            <a:pt x="812" y="327"/>
                          </a:lnTo>
                          <a:lnTo>
                            <a:pt x="804" y="335"/>
                          </a:lnTo>
                          <a:lnTo>
                            <a:pt x="790" y="341"/>
                          </a:lnTo>
                          <a:lnTo>
                            <a:pt x="783" y="353"/>
                          </a:lnTo>
                          <a:lnTo>
                            <a:pt x="781" y="339"/>
                          </a:lnTo>
                          <a:lnTo>
                            <a:pt x="775" y="353"/>
                          </a:lnTo>
                          <a:lnTo>
                            <a:pt x="777" y="364"/>
                          </a:lnTo>
                          <a:lnTo>
                            <a:pt x="773" y="373"/>
                          </a:lnTo>
                          <a:lnTo>
                            <a:pt x="770" y="378"/>
                          </a:lnTo>
                          <a:lnTo>
                            <a:pt x="769" y="389"/>
                          </a:lnTo>
                          <a:lnTo>
                            <a:pt x="772" y="395"/>
                          </a:lnTo>
                          <a:lnTo>
                            <a:pt x="773" y="399"/>
                          </a:lnTo>
                          <a:lnTo>
                            <a:pt x="783" y="415"/>
                          </a:lnTo>
                          <a:lnTo>
                            <a:pt x="783" y="424"/>
                          </a:lnTo>
                          <a:lnTo>
                            <a:pt x="778" y="418"/>
                          </a:lnTo>
                          <a:lnTo>
                            <a:pt x="769" y="412"/>
                          </a:lnTo>
                          <a:lnTo>
                            <a:pt x="775" y="430"/>
                          </a:lnTo>
                          <a:lnTo>
                            <a:pt x="767" y="421"/>
                          </a:lnTo>
                          <a:lnTo>
                            <a:pt x="770" y="430"/>
                          </a:lnTo>
                          <a:lnTo>
                            <a:pt x="780" y="444"/>
                          </a:lnTo>
                          <a:lnTo>
                            <a:pt x="783" y="459"/>
                          </a:lnTo>
                          <a:lnTo>
                            <a:pt x="790" y="467"/>
                          </a:lnTo>
                          <a:lnTo>
                            <a:pt x="790" y="473"/>
                          </a:lnTo>
                          <a:lnTo>
                            <a:pt x="796" y="485"/>
                          </a:lnTo>
                          <a:lnTo>
                            <a:pt x="796" y="498"/>
                          </a:lnTo>
                          <a:lnTo>
                            <a:pt x="800" y="508"/>
                          </a:lnTo>
                          <a:lnTo>
                            <a:pt x="809" y="528"/>
                          </a:lnTo>
                          <a:lnTo>
                            <a:pt x="810" y="541"/>
                          </a:lnTo>
                          <a:lnTo>
                            <a:pt x="807" y="555"/>
                          </a:lnTo>
                          <a:lnTo>
                            <a:pt x="809" y="562"/>
                          </a:lnTo>
                          <a:lnTo>
                            <a:pt x="806" y="567"/>
                          </a:lnTo>
                          <a:lnTo>
                            <a:pt x="796" y="570"/>
                          </a:lnTo>
                          <a:lnTo>
                            <a:pt x="796" y="582"/>
                          </a:lnTo>
                          <a:lnTo>
                            <a:pt x="806" y="585"/>
                          </a:lnTo>
                          <a:lnTo>
                            <a:pt x="824" y="599"/>
                          </a:lnTo>
                          <a:lnTo>
                            <a:pt x="836" y="599"/>
                          </a:lnTo>
                          <a:lnTo>
                            <a:pt x="849" y="599"/>
                          </a:lnTo>
                          <a:lnTo>
                            <a:pt x="856" y="593"/>
                          </a:lnTo>
                          <a:lnTo>
                            <a:pt x="866" y="587"/>
                          </a:lnTo>
                          <a:lnTo>
                            <a:pt x="870" y="588"/>
                          </a:lnTo>
                          <a:lnTo>
                            <a:pt x="881" y="578"/>
                          </a:lnTo>
                          <a:lnTo>
                            <a:pt x="892" y="576"/>
                          </a:lnTo>
                          <a:lnTo>
                            <a:pt x="905" y="575"/>
                          </a:lnTo>
                          <a:lnTo>
                            <a:pt x="919" y="578"/>
                          </a:lnTo>
                          <a:lnTo>
                            <a:pt x="931" y="576"/>
                          </a:lnTo>
                          <a:lnTo>
                            <a:pt x="945" y="576"/>
                          </a:lnTo>
                          <a:lnTo>
                            <a:pt x="951" y="567"/>
                          </a:lnTo>
                          <a:lnTo>
                            <a:pt x="954" y="556"/>
                          </a:lnTo>
                          <a:lnTo>
                            <a:pt x="970" y="551"/>
                          </a:lnTo>
                          <a:lnTo>
                            <a:pt x="988" y="541"/>
                          </a:lnTo>
                          <a:lnTo>
                            <a:pt x="1005" y="542"/>
                          </a:lnTo>
                          <a:lnTo>
                            <a:pt x="1023" y="536"/>
                          </a:lnTo>
                          <a:lnTo>
                            <a:pt x="1046" y="528"/>
                          </a:lnTo>
                          <a:lnTo>
                            <a:pt x="1077" y="527"/>
                          </a:lnTo>
                          <a:lnTo>
                            <a:pt x="1094" y="536"/>
                          </a:lnTo>
                          <a:lnTo>
                            <a:pt x="1106" y="536"/>
                          </a:lnTo>
                          <a:lnTo>
                            <a:pt x="1128" y="548"/>
                          </a:lnTo>
                          <a:lnTo>
                            <a:pt x="1125" y="555"/>
                          </a:lnTo>
                          <a:lnTo>
                            <a:pt x="1134" y="562"/>
                          </a:lnTo>
                          <a:lnTo>
                            <a:pt x="1145" y="576"/>
                          </a:lnTo>
                          <a:lnTo>
                            <a:pt x="1145" y="587"/>
                          </a:lnTo>
                          <a:lnTo>
                            <a:pt x="1157" y="596"/>
                          </a:lnTo>
                          <a:lnTo>
                            <a:pt x="1165" y="579"/>
                          </a:lnTo>
                          <a:lnTo>
                            <a:pt x="1175" y="573"/>
                          </a:lnTo>
                          <a:lnTo>
                            <a:pt x="1189" y="555"/>
                          </a:lnTo>
                          <a:lnTo>
                            <a:pt x="1191" y="570"/>
                          </a:lnTo>
                          <a:lnTo>
                            <a:pt x="1183" y="581"/>
                          </a:lnTo>
                          <a:lnTo>
                            <a:pt x="1181" y="593"/>
                          </a:lnTo>
                          <a:lnTo>
                            <a:pt x="1172" y="604"/>
                          </a:lnTo>
                          <a:lnTo>
                            <a:pt x="1188" y="601"/>
                          </a:lnTo>
                          <a:lnTo>
                            <a:pt x="1195" y="585"/>
                          </a:lnTo>
                          <a:lnTo>
                            <a:pt x="1200" y="601"/>
                          </a:lnTo>
                          <a:lnTo>
                            <a:pt x="1194" y="611"/>
                          </a:lnTo>
                          <a:lnTo>
                            <a:pt x="1211" y="615"/>
                          </a:lnTo>
                          <a:lnTo>
                            <a:pt x="1220" y="622"/>
                          </a:lnTo>
                          <a:lnTo>
                            <a:pt x="1223" y="633"/>
                          </a:lnTo>
                          <a:lnTo>
                            <a:pt x="1226" y="650"/>
                          </a:lnTo>
                          <a:lnTo>
                            <a:pt x="1237" y="662"/>
                          </a:lnTo>
                          <a:lnTo>
                            <a:pt x="1254" y="670"/>
                          </a:lnTo>
                          <a:lnTo>
                            <a:pt x="1264" y="671"/>
                          </a:lnTo>
                          <a:lnTo>
                            <a:pt x="1274" y="674"/>
                          </a:lnTo>
                          <a:lnTo>
                            <a:pt x="1289" y="681"/>
                          </a:lnTo>
                          <a:lnTo>
                            <a:pt x="1304" y="664"/>
                          </a:lnTo>
                          <a:lnTo>
                            <a:pt x="1313" y="661"/>
                          </a:lnTo>
                          <a:lnTo>
                            <a:pt x="1310" y="671"/>
                          </a:lnTo>
                          <a:lnTo>
                            <a:pt x="1321" y="676"/>
                          </a:lnTo>
                          <a:lnTo>
                            <a:pt x="1335" y="685"/>
                          </a:lnTo>
                          <a:lnTo>
                            <a:pt x="1346" y="676"/>
                          </a:lnTo>
                          <a:lnTo>
                            <a:pt x="1353" y="667"/>
                          </a:lnTo>
                          <a:lnTo>
                            <a:pt x="1369" y="658"/>
                          </a:lnTo>
                          <a:lnTo>
                            <a:pt x="1389" y="658"/>
                          </a:lnTo>
                          <a:lnTo>
                            <a:pt x="1398" y="650"/>
                          </a:lnTo>
                          <a:lnTo>
                            <a:pt x="1398" y="644"/>
                          </a:lnTo>
                          <a:lnTo>
                            <a:pt x="1399" y="628"/>
                          </a:lnTo>
                          <a:lnTo>
                            <a:pt x="1404" y="613"/>
                          </a:lnTo>
                          <a:lnTo>
                            <a:pt x="1410" y="602"/>
                          </a:lnTo>
                          <a:lnTo>
                            <a:pt x="1416" y="584"/>
                          </a:lnTo>
                          <a:lnTo>
                            <a:pt x="1422" y="573"/>
                          </a:lnTo>
                          <a:lnTo>
                            <a:pt x="1428" y="558"/>
                          </a:lnTo>
                          <a:lnTo>
                            <a:pt x="1441" y="548"/>
                          </a:lnTo>
                          <a:lnTo>
                            <a:pt x="1448" y="530"/>
                          </a:lnTo>
                          <a:lnTo>
                            <a:pt x="1451" y="515"/>
                          </a:lnTo>
                          <a:lnTo>
                            <a:pt x="1451" y="504"/>
                          </a:lnTo>
                          <a:lnTo>
                            <a:pt x="1456" y="485"/>
                          </a:lnTo>
                          <a:lnTo>
                            <a:pt x="1459" y="476"/>
                          </a:lnTo>
                          <a:lnTo>
                            <a:pt x="1459" y="459"/>
                          </a:lnTo>
                          <a:lnTo>
                            <a:pt x="1451" y="442"/>
                          </a:lnTo>
                          <a:lnTo>
                            <a:pt x="1453" y="432"/>
                          </a:lnTo>
                          <a:close/>
                        </a:path>
                      </a:pathLst>
                    </a:custGeom>
                    <a:solidFill>
                      <a:srgbClr val="D9D9D9"/>
                    </a:solidFill>
                    <a:ln w="4763" cap="flat">
                      <a:solidFill>
                        <a:srgbClr val="FFFFFF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endParaRPr lang="en-US" sz="1000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5" name="Africa" descr="{&quot;Key&quot;:&quot;africa&quot;,&quot;Name&quot;:&quot;Africa&quot;,&quot;Value&quot;:1.0,&quot;Formula&quot;:&quot;&quot;,&quot;Text&quot;:&quot;&quot;,&quot;OfficeApplication&quot;:1,&quot;HasValue&quot;:true}">
                      <a:extLst>
                        <a:ext uri="{FF2B5EF4-FFF2-40B4-BE49-F238E27FC236}">
                          <a16:creationId xmlns:a16="http://schemas.microsoft.com/office/drawing/2014/main" id="{5A217E37-790E-45DA-A876-8878C9D3C6C4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4303" y="2158"/>
                      <a:ext cx="1184" cy="1329"/>
                    </a:xfrm>
                    <a:custGeom>
                      <a:avLst/>
                      <a:gdLst>
                        <a:gd name="T0" fmla="*/ 1146 w 1184"/>
                        <a:gd name="T1" fmla="*/ 495 h 1329"/>
                        <a:gd name="T2" fmla="*/ 1063 w 1184"/>
                        <a:gd name="T3" fmla="*/ 512 h 1329"/>
                        <a:gd name="T4" fmla="*/ 1045 w 1184"/>
                        <a:gd name="T5" fmla="*/ 472 h 1329"/>
                        <a:gd name="T6" fmla="*/ 974 w 1184"/>
                        <a:gd name="T7" fmla="*/ 399 h 1329"/>
                        <a:gd name="T8" fmla="*/ 939 w 1184"/>
                        <a:gd name="T9" fmla="*/ 305 h 1329"/>
                        <a:gd name="T10" fmla="*/ 891 w 1184"/>
                        <a:gd name="T11" fmla="*/ 228 h 1329"/>
                        <a:gd name="T12" fmla="*/ 887 w 1184"/>
                        <a:gd name="T13" fmla="*/ 199 h 1329"/>
                        <a:gd name="T14" fmla="*/ 871 w 1184"/>
                        <a:gd name="T15" fmla="*/ 133 h 1329"/>
                        <a:gd name="T16" fmla="*/ 801 w 1184"/>
                        <a:gd name="T17" fmla="*/ 136 h 1329"/>
                        <a:gd name="T18" fmla="*/ 710 w 1184"/>
                        <a:gd name="T19" fmla="*/ 108 h 1329"/>
                        <a:gd name="T20" fmla="*/ 649 w 1184"/>
                        <a:gd name="T21" fmla="*/ 133 h 1329"/>
                        <a:gd name="T22" fmla="*/ 543 w 1184"/>
                        <a:gd name="T23" fmla="*/ 97 h 1329"/>
                        <a:gd name="T24" fmla="*/ 479 w 1184"/>
                        <a:gd name="T25" fmla="*/ 65 h 1329"/>
                        <a:gd name="T26" fmla="*/ 479 w 1184"/>
                        <a:gd name="T27" fmla="*/ 14 h 1329"/>
                        <a:gd name="T28" fmla="*/ 396 w 1184"/>
                        <a:gd name="T29" fmla="*/ 14 h 1329"/>
                        <a:gd name="T30" fmla="*/ 267 w 1184"/>
                        <a:gd name="T31" fmla="*/ 46 h 1329"/>
                        <a:gd name="T32" fmla="*/ 186 w 1184"/>
                        <a:gd name="T33" fmla="*/ 70 h 1329"/>
                        <a:gd name="T34" fmla="*/ 124 w 1184"/>
                        <a:gd name="T35" fmla="*/ 169 h 1329"/>
                        <a:gd name="T36" fmla="*/ 55 w 1184"/>
                        <a:gd name="T37" fmla="*/ 225 h 1329"/>
                        <a:gd name="T38" fmla="*/ 25 w 1184"/>
                        <a:gd name="T39" fmla="*/ 292 h 1329"/>
                        <a:gd name="T40" fmla="*/ 22 w 1184"/>
                        <a:gd name="T41" fmla="*/ 349 h 1329"/>
                        <a:gd name="T42" fmla="*/ 8 w 1184"/>
                        <a:gd name="T43" fmla="*/ 434 h 1329"/>
                        <a:gd name="T44" fmla="*/ 23 w 1184"/>
                        <a:gd name="T45" fmla="*/ 486 h 1329"/>
                        <a:gd name="T46" fmla="*/ 54 w 1184"/>
                        <a:gd name="T47" fmla="*/ 515 h 1329"/>
                        <a:gd name="T48" fmla="*/ 91 w 1184"/>
                        <a:gd name="T49" fmla="*/ 568 h 1329"/>
                        <a:gd name="T50" fmla="*/ 172 w 1184"/>
                        <a:gd name="T51" fmla="*/ 617 h 1329"/>
                        <a:gd name="T52" fmla="*/ 255 w 1184"/>
                        <a:gd name="T53" fmla="*/ 606 h 1329"/>
                        <a:gd name="T54" fmla="*/ 365 w 1184"/>
                        <a:gd name="T55" fmla="*/ 585 h 1329"/>
                        <a:gd name="T56" fmla="*/ 433 w 1184"/>
                        <a:gd name="T57" fmla="*/ 617 h 1329"/>
                        <a:gd name="T58" fmla="*/ 469 w 1184"/>
                        <a:gd name="T59" fmla="*/ 652 h 1329"/>
                        <a:gd name="T60" fmla="*/ 466 w 1184"/>
                        <a:gd name="T61" fmla="*/ 729 h 1329"/>
                        <a:gd name="T62" fmla="*/ 523 w 1184"/>
                        <a:gd name="T63" fmla="*/ 810 h 1329"/>
                        <a:gd name="T64" fmla="*/ 540 w 1184"/>
                        <a:gd name="T65" fmla="*/ 877 h 1329"/>
                        <a:gd name="T66" fmla="*/ 512 w 1184"/>
                        <a:gd name="T67" fmla="*/ 949 h 1329"/>
                        <a:gd name="T68" fmla="*/ 534 w 1184"/>
                        <a:gd name="T69" fmla="*/ 1058 h 1329"/>
                        <a:gd name="T70" fmla="*/ 566 w 1184"/>
                        <a:gd name="T71" fmla="*/ 1173 h 1329"/>
                        <a:gd name="T72" fmla="*/ 618 w 1184"/>
                        <a:gd name="T73" fmla="*/ 1279 h 1329"/>
                        <a:gd name="T74" fmla="*/ 634 w 1184"/>
                        <a:gd name="T75" fmla="*/ 1321 h 1329"/>
                        <a:gd name="T76" fmla="*/ 710 w 1184"/>
                        <a:gd name="T77" fmla="*/ 1307 h 1329"/>
                        <a:gd name="T78" fmla="*/ 790 w 1184"/>
                        <a:gd name="T79" fmla="*/ 1287 h 1329"/>
                        <a:gd name="T80" fmla="*/ 858 w 1184"/>
                        <a:gd name="T81" fmla="*/ 1207 h 1329"/>
                        <a:gd name="T82" fmla="*/ 871 w 1184"/>
                        <a:gd name="T83" fmla="*/ 1141 h 1329"/>
                        <a:gd name="T84" fmla="*/ 916 w 1184"/>
                        <a:gd name="T85" fmla="*/ 1080 h 1329"/>
                        <a:gd name="T86" fmla="*/ 922 w 1184"/>
                        <a:gd name="T87" fmla="*/ 1021 h 1329"/>
                        <a:gd name="T88" fmla="*/ 1005 w 1184"/>
                        <a:gd name="T89" fmla="*/ 946 h 1329"/>
                        <a:gd name="T90" fmla="*/ 983 w 1184"/>
                        <a:gd name="T91" fmla="*/ 849 h 1329"/>
                        <a:gd name="T92" fmla="*/ 971 w 1184"/>
                        <a:gd name="T93" fmla="*/ 794 h 1329"/>
                        <a:gd name="T94" fmla="*/ 1008 w 1184"/>
                        <a:gd name="T95" fmla="*/ 727 h 1329"/>
                        <a:gd name="T96" fmla="*/ 1104 w 1184"/>
                        <a:gd name="T97" fmla="*/ 643 h 1329"/>
                        <a:gd name="T98" fmla="*/ 1183 w 1184"/>
                        <a:gd name="T99" fmla="*/ 508 h 1329"/>
                        <a:gd name="T100" fmla="*/ 1161 w 1184"/>
                        <a:gd name="T101" fmla="*/ 958 h 1329"/>
                        <a:gd name="T102" fmla="*/ 1140 w 1184"/>
                        <a:gd name="T103" fmla="*/ 1050 h 1329"/>
                        <a:gd name="T104" fmla="*/ 1062 w 1184"/>
                        <a:gd name="T105" fmla="*/ 1133 h 1329"/>
                        <a:gd name="T106" fmla="*/ 1058 w 1184"/>
                        <a:gd name="T107" fmla="*/ 1056 h 1329"/>
                        <a:gd name="T108" fmla="*/ 1069 w 1184"/>
                        <a:gd name="T109" fmla="*/ 973 h 1329"/>
                        <a:gd name="T110" fmla="*/ 1129 w 1184"/>
                        <a:gd name="T111" fmla="*/ 935 h 1329"/>
                        <a:gd name="T112" fmla="*/ 1161 w 1184"/>
                        <a:gd name="T113" fmla="*/ 913 h 13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184" h="1329">
                          <a:moveTo>
                            <a:pt x="1184" y="489"/>
                          </a:moveTo>
                          <a:lnTo>
                            <a:pt x="1183" y="485"/>
                          </a:lnTo>
                          <a:lnTo>
                            <a:pt x="1177" y="485"/>
                          </a:lnTo>
                          <a:lnTo>
                            <a:pt x="1169" y="489"/>
                          </a:lnTo>
                          <a:lnTo>
                            <a:pt x="1160" y="492"/>
                          </a:lnTo>
                          <a:lnTo>
                            <a:pt x="1152" y="494"/>
                          </a:lnTo>
                          <a:lnTo>
                            <a:pt x="1146" y="495"/>
                          </a:lnTo>
                          <a:lnTo>
                            <a:pt x="1137" y="495"/>
                          </a:lnTo>
                          <a:lnTo>
                            <a:pt x="1131" y="498"/>
                          </a:lnTo>
                          <a:lnTo>
                            <a:pt x="1121" y="500"/>
                          </a:lnTo>
                          <a:lnTo>
                            <a:pt x="1106" y="505"/>
                          </a:lnTo>
                          <a:lnTo>
                            <a:pt x="1088" y="508"/>
                          </a:lnTo>
                          <a:lnTo>
                            <a:pt x="1071" y="512"/>
                          </a:lnTo>
                          <a:lnTo>
                            <a:pt x="1063" y="512"/>
                          </a:lnTo>
                          <a:lnTo>
                            <a:pt x="1055" y="505"/>
                          </a:lnTo>
                          <a:lnTo>
                            <a:pt x="1052" y="497"/>
                          </a:lnTo>
                          <a:lnTo>
                            <a:pt x="1046" y="494"/>
                          </a:lnTo>
                          <a:lnTo>
                            <a:pt x="1039" y="489"/>
                          </a:lnTo>
                          <a:lnTo>
                            <a:pt x="1049" y="485"/>
                          </a:lnTo>
                          <a:lnTo>
                            <a:pt x="1049" y="477"/>
                          </a:lnTo>
                          <a:lnTo>
                            <a:pt x="1045" y="472"/>
                          </a:lnTo>
                          <a:lnTo>
                            <a:pt x="1037" y="468"/>
                          </a:lnTo>
                          <a:lnTo>
                            <a:pt x="1031" y="462"/>
                          </a:lnTo>
                          <a:lnTo>
                            <a:pt x="1022" y="451"/>
                          </a:lnTo>
                          <a:lnTo>
                            <a:pt x="1012" y="440"/>
                          </a:lnTo>
                          <a:lnTo>
                            <a:pt x="989" y="425"/>
                          </a:lnTo>
                          <a:lnTo>
                            <a:pt x="979" y="415"/>
                          </a:lnTo>
                          <a:lnTo>
                            <a:pt x="974" y="399"/>
                          </a:lnTo>
                          <a:lnTo>
                            <a:pt x="965" y="379"/>
                          </a:lnTo>
                          <a:lnTo>
                            <a:pt x="956" y="371"/>
                          </a:lnTo>
                          <a:lnTo>
                            <a:pt x="948" y="368"/>
                          </a:lnTo>
                          <a:lnTo>
                            <a:pt x="942" y="345"/>
                          </a:lnTo>
                          <a:lnTo>
                            <a:pt x="940" y="326"/>
                          </a:lnTo>
                          <a:lnTo>
                            <a:pt x="943" y="323"/>
                          </a:lnTo>
                          <a:lnTo>
                            <a:pt x="939" y="305"/>
                          </a:lnTo>
                          <a:lnTo>
                            <a:pt x="936" y="302"/>
                          </a:lnTo>
                          <a:lnTo>
                            <a:pt x="914" y="285"/>
                          </a:lnTo>
                          <a:lnTo>
                            <a:pt x="914" y="272"/>
                          </a:lnTo>
                          <a:lnTo>
                            <a:pt x="917" y="269"/>
                          </a:lnTo>
                          <a:lnTo>
                            <a:pt x="902" y="248"/>
                          </a:lnTo>
                          <a:lnTo>
                            <a:pt x="897" y="237"/>
                          </a:lnTo>
                          <a:lnTo>
                            <a:pt x="891" y="228"/>
                          </a:lnTo>
                          <a:lnTo>
                            <a:pt x="877" y="197"/>
                          </a:lnTo>
                          <a:lnTo>
                            <a:pt x="867" y="177"/>
                          </a:lnTo>
                          <a:lnTo>
                            <a:pt x="861" y="157"/>
                          </a:lnTo>
                          <a:lnTo>
                            <a:pt x="862" y="156"/>
                          </a:lnTo>
                          <a:lnTo>
                            <a:pt x="874" y="183"/>
                          </a:lnTo>
                          <a:lnTo>
                            <a:pt x="882" y="193"/>
                          </a:lnTo>
                          <a:lnTo>
                            <a:pt x="887" y="199"/>
                          </a:lnTo>
                          <a:lnTo>
                            <a:pt x="891" y="196"/>
                          </a:lnTo>
                          <a:lnTo>
                            <a:pt x="896" y="185"/>
                          </a:lnTo>
                          <a:lnTo>
                            <a:pt x="900" y="169"/>
                          </a:lnTo>
                          <a:lnTo>
                            <a:pt x="905" y="162"/>
                          </a:lnTo>
                          <a:lnTo>
                            <a:pt x="893" y="128"/>
                          </a:lnTo>
                          <a:lnTo>
                            <a:pt x="885" y="133"/>
                          </a:lnTo>
                          <a:lnTo>
                            <a:pt x="871" y="133"/>
                          </a:lnTo>
                          <a:lnTo>
                            <a:pt x="858" y="128"/>
                          </a:lnTo>
                          <a:lnTo>
                            <a:pt x="853" y="134"/>
                          </a:lnTo>
                          <a:lnTo>
                            <a:pt x="848" y="123"/>
                          </a:lnTo>
                          <a:lnTo>
                            <a:pt x="836" y="122"/>
                          </a:lnTo>
                          <a:lnTo>
                            <a:pt x="822" y="123"/>
                          </a:lnTo>
                          <a:lnTo>
                            <a:pt x="815" y="129"/>
                          </a:lnTo>
                          <a:lnTo>
                            <a:pt x="801" y="136"/>
                          </a:lnTo>
                          <a:lnTo>
                            <a:pt x="793" y="133"/>
                          </a:lnTo>
                          <a:lnTo>
                            <a:pt x="776" y="126"/>
                          </a:lnTo>
                          <a:lnTo>
                            <a:pt x="759" y="120"/>
                          </a:lnTo>
                          <a:lnTo>
                            <a:pt x="736" y="122"/>
                          </a:lnTo>
                          <a:lnTo>
                            <a:pt x="733" y="114"/>
                          </a:lnTo>
                          <a:lnTo>
                            <a:pt x="715" y="113"/>
                          </a:lnTo>
                          <a:lnTo>
                            <a:pt x="710" y="108"/>
                          </a:lnTo>
                          <a:lnTo>
                            <a:pt x="704" y="108"/>
                          </a:lnTo>
                          <a:lnTo>
                            <a:pt x="698" y="99"/>
                          </a:lnTo>
                          <a:lnTo>
                            <a:pt x="675" y="96"/>
                          </a:lnTo>
                          <a:lnTo>
                            <a:pt x="663" y="99"/>
                          </a:lnTo>
                          <a:lnTo>
                            <a:pt x="650" y="108"/>
                          </a:lnTo>
                          <a:lnTo>
                            <a:pt x="644" y="117"/>
                          </a:lnTo>
                          <a:lnTo>
                            <a:pt x="649" y="133"/>
                          </a:lnTo>
                          <a:lnTo>
                            <a:pt x="641" y="142"/>
                          </a:lnTo>
                          <a:lnTo>
                            <a:pt x="632" y="146"/>
                          </a:lnTo>
                          <a:lnTo>
                            <a:pt x="614" y="137"/>
                          </a:lnTo>
                          <a:lnTo>
                            <a:pt x="589" y="129"/>
                          </a:lnTo>
                          <a:lnTo>
                            <a:pt x="574" y="125"/>
                          </a:lnTo>
                          <a:lnTo>
                            <a:pt x="566" y="106"/>
                          </a:lnTo>
                          <a:lnTo>
                            <a:pt x="543" y="97"/>
                          </a:lnTo>
                          <a:lnTo>
                            <a:pt x="529" y="94"/>
                          </a:lnTo>
                          <a:lnTo>
                            <a:pt x="522" y="96"/>
                          </a:lnTo>
                          <a:lnTo>
                            <a:pt x="502" y="90"/>
                          </a:lnTo>
                          <a:lnTo>
                            <a:pt x="496" y="86"/>
                          </a:lnTo>
                          <a:lnTo>
                            <a:pt x="491" y="76"/>
                          </a:lnTo>
                          <a:lnTo>
                            <a:pt x="482" y="76"/>
                          </a:lnTo>
                          <a:lnTo>
                            <a:pt x="479" y="65"/>
                          </a:lnTo>
                          <a:lnTo>
                            <a:pt x="489" y="54"/>
                          </a:lnTo>
                          <a:lnTo>
                            <a:pt x="492" y="36"/>
                          </a:lnTo>
                          <a:lnTo>
                            <a:pt x="486" y="31"/>
                          </a:lnTo>
                          <a:lnTo>
                            <a:pt x="486" y="20"/>
                          </a:lnTo>
                          <a:lnTo>
                            <a:pt x="496" y="10"/>
                          </a:lnTo>
                          <a:lnTo>
                            <a:pt x="494" y="7"/>
                          </a:lnTo>
                          <a:lnTo>
                            <a:pt x="479" y="14"/>
                          </a:lnTo>
                          <a:lnTo>
                            <a:pt x="480" y="3"/>
                          </a:lnTo>
                          <a:lnTo>
                            <a:pt x="468" y="0"/>
                          </a:lnTo>
                          <a:lnTo>
                            <a:pt x="450" y="10"/>
                          </a:lnTo>
                          <a:lnTo>
                            <a:pt x="437" y="11"/>
                          </a:lnTo>
                          <a:lnTo>
                            <a:pt x="430" y="5"/>
                          </a:lnTo>
                          <a:lnTo>
                            <a:pt x="411" y="7"/>
                          </a:lnTo>
                          <a:lnTo>
                            <a:pt x="396" y="14"/>
                          </a:lnTo>
                          <a:lnTo>
                            <a:pt x="387" y="11"/>
                          </a:lnTo>
                          <a:lnTo>
                            <a:pt x="359" y="13"/>
                          </a:lnTo>
                          <a:lnTo>
                            <a:pt x="330" y="17"/>
                          </a:lnTo>
                          <a:lnTo>
                            <a:pt x="313" y="23"/>
                          </a:lnTo>
                          <a:lnTo>
                            <a:pt x="302" y="33"/>
                          </a:lnTo>
                          <a:lnTo>
                            <a:pt x="284" y="36"/>
                          </a:lnTo>
                          <a:lnTo>
                            <a:pt x="267" y="46"/>
                          </a:lnTo>
                          <a:lnTo>
                            <a:pt x="259" y="46"/>
                          </a:lnTo>
                          <a:lnTo>
                            <a:pt x="241" y="42"/>
                          </a:lnTo>
                          <a:lnTo>
                            <a:pt x="226" y="43"/>
                          </a:lnTo>
                          <a:lnTo>
                            <a:pt x="215" y="34"/>
                          </a:lnTo>
                          <a:lnTo>
                            <a:pt x="203" y="34"/>
                          </a:lnTo>
                          <a:lnTo>
                            <a:pt x="196" y="48"/>
                          </a:lnTo>
                          <a:lnTo>
                            <a:pt x="186" y="70"/>
                          </a:lnTo>
                          <a:lnTo>
                            <a:pt x="172" y="77"/>
                          </a:lnTo>
                          <a:lnTo>
                            <a:pt x="155" y="86"/>
                          </a:lnTo>
                          <a:lnTo>
                            <a:pt x="144" y="100"/>
                          </a:lnTo>
                          <a:lnTo>
                            <a:pt x="141" y="111"/>
                          </a:lnTo>
                          <a:lnTo>
                            <a:pt x="135" y="129"/>
                          </a:lnTo>
                          <a:lnTo>
                            <a:pt x="140" y="154"/>
                          </a:lnTo>
                          <a:lnTo>
                            <a:pt x="124" y="169"/>
                          </a:lnTo>
                          <a:lnTo>
                            <a:pt x="117" y="176"/>
                          </a:lnTo>
                          <a:lnTo>
                            <a:pt x="103" y="189"/>
                          </a:lnTo>
                          <a:lnTo>
                            <a:pt x="88" y="191"/>
                          </a:lnTo>
                          <a:lnTo>
                            <a:pt x="78" y="199"/>
                          </a:lnTo>
                          <a:lnTo>
                            <a:pt x="78" y="199"/>
                          </a:lnTo>
                          <a:lnTo>
                            <a:pt x="68" y="219"/>
                          </a:lnTo>
                          <a:lnTo>
                            <a:pt x="55" y="225"/>
                          </a:lnTo>
                          <a:lnTo>
                            <a:pt x="49" y="237"/>
                          </a:lnTo>
                          <a:lnTo>
                            <a:pt x="49" y="248"/>
                          </a:lnTo>
                          <a:lnTo>
                            <a:pt x="45" y="259"/>
                          </a:lnTo>
                          <a:lnTo>
                            <a:pt x="38" y="262"/>
                          </a:lnTo>
                          <a:lnTo>
                            <a:pt x="29" y="272"/>
                          </a:lnTo>
                          <a:lnTo>
                            <a:pt x="23" y="286"/>
                          </a:lnTo>
                          <a:lnTo>
                            <a:pt x="25" y="292"/>
                          </a:lnTo>
                          <a:lnTo>
                            <a:pt x="19" y="302"/>
                          </a:lnTo>
                          <a:lnTo>
                            <a:pt x="12" y="308"/>
                          </a:lnTo>
                          <a:lnTo>
                            <a:pt x="11" y="315"/>
                          </a:lnTo>
                          <a:lnTo>
                            <a:pt x="11" y="323"/>
                          </a:lnTo>
                          <a:lnTo>
                            <a:pt x="20" y="331"/>
                          </a:lnTo>
                          <a:lnTo>
                            <a:pt x="23" y="340"/>
                          </a:lnTo>
                          <a:lnTo>
                            <a:pt x="22" y="349"/>
                          </a:lnTo>
                          <a:lnTo>
                            <a:pt x="25" y="359"/>
                          </a:lnTo>
                          <a:lnTo>
                            <a:pt x="26" y="375"/>
                          </a:lnTo>
                          <a:lnTo>
                            <a:pt x="25" y="392"/>
                          </a:lnTo>
                          <a:lnTo>
                            <a:pt x="19" y="402"/>
                          </a:lnTo>
                          <a:lnTo>
                            <a:pt x="20" y="412"/>
                          </a:lnTo>
                          <a:lnTo>
                            <a:pt x="17" y="420"/>
                          </a:lnTo>
                          <a:lnTo>
                            <a:pt x="8" y="434"/>
                          </a:lnTo>
                          <a:lnTo>
                            <a:pt x="0" y="437"/>
                          </a:lnTo>
                          <a:lnTo>
                            <a:pt x="9" y="443"/>
                          </a:lnTo>
                          <a:lnTo>
                            <a:pt x="17" y="457"/>
                          </a:lnTo>
                          <a:lnTo>
                            <a:pt x="14" y="465"/>
                          </a:lnTo>
                          <a:lnTo>
                            <a:pt x="17" y="478"/>
                          </a:lnTo>
                          <a:lnTo>
                            <a:pt x="19" y="482"/>
                          </a:lnTo>
                          <a:lnTo>
                            <a:pt x="23" y="486"/>
                          </a:lnTo>
                          <a:lnTo>
                            <a:pt x="23" y="488"/>
                          </a:lnTo>
                          <a:lnTo>
                            <a:pt x="28" y="492"/>
                          </a:lnTo>
                          <a:lnTo>
                            <a:pt x="34" y="494"/>
                          </a:lnTo>
                          <a:lnTo>
                            <a:pt x="43" y="501"/>
                          </a:lnTo>
                          <a:lnTo>
                            <a:pt x="49" y="505"/>
                          </a:lnTo>
                          <a:lnTo>
                            <a:pt x="51" y="508"/>
                          </a:lnTo>
                          <a:lnTo>
                            <a:pt x="54" y="515"/>
                          </a:lnTo>
                          <a:lnTo>
                            <a:pt x="57" y="520"/>
                          </a:lnTo>
                          <a:lnTo>
                            <a:pt x="61" y="521"/>
                          </a:lnTo>
                          <a:lnTo>
                            <a:pt x="69" y="528"/>
                          </a:lnTo>
                          <a:lnTo>
                            <a:pt x="75" y="538"/>
                          </a:lnTo>
                          <a:lnTo>
                            <a:pt x="78" y="551"/>
                          </a:lnTo>
                          <a:lnTo>
                            <a:pt x="81" y="558"/>
                          </a:lnTo>
                          <a:lnTo>
                            <a:pt x="91" y="568"/>
                          </a:lnTo>
                          <a:lnTo>
                            <a:pt x="103" y="574"/>
                          </a:lnTo>
                          <a:lnTo>
                            <a:pt x="107" y="575"/>
                          </a:lnTo>
                          <a:lnTo>
                            <a:pt x="118" y="586"/>
                          </a:lnTo>
                          <a:lnTo>
                            <a:pt x="134" y="595"/>
                          </a:lnTo>
                          <a:lnTo>
                            <a:pt x="149" y="609"/>
                          </a:lnTo>
                          <a:lnTo>
                            <a:pt x="167" y="617"/>
                          </a:lnTo>
                          <a:lnTo>
                            <a:pt x="172" y="617"/>
                          </a:lnTo>
                          <a:lnTo>
                            <a:pt x="175" y="617"/>
                          </a:lnTo>
                          <a:lnTo>
                            <a:pt x="192" y="611"/>
                          </a:lnTo>
                          <a:lnTo>
                            <a:pt x="204" y="606"/>
                          </a:lnTo>
                          <a:lnTo>
                            <a:pt x="224" y="603"/>
                          </a:lnTo>
                          <a:lnTo>
                            <a:pt x="235" y="603"/>
                          </a:lnTo>
                          <a:lnTo>
                            <a:pt x="247" y="606"/>
                          </a:lnTo>
                          <a:lnTo>
                            <a:pt x="255" y="606"/>
                          </a:lnTo>
                          <a:lnTo>
                            <a:pt x="270" y="611"/>
                          </a:lnTo>
                          <a:lnTo>
                            <a:pt x="285" y="606"/>
                          </a:lnTo>
                          <a:lnTo>
                            <a:pt x="295" y="600"/>
                          </a:lnTo>
                          <a:lnTo>
                            <a:pt x="322" y="591"/>
                          </a:lnTo>
                          <a:lnTo>
                            <a:pt x="336" y="586"/>
                          </a:lnTo>
                          <a:lnTo>
                            <a:pt x="350" y="585"/>
                          </a:lnTo>
                          <a:lnTo>
                            <a:pt x="365" y="585"/>
                          </a:lnTo>
                          <a:lnTo>
                            <a:pt x="379" y="585"/>
                          </a:lnTo>
                          <a:lnTo>
                            <a:pt x="391" y="595"/>
                          </a:lnTo>
                          <a:lnTo>
                            <a:pt x="396" y="608"/>
                          </a:lnTo>
                          <a:lnTo>
                            <a:pt x="405" y="618"/>
                          </a:lnTo>
                          <a:lnTo>
                            <a:pt x="419" y="618"/>
                          </a:lnTo>
                          <a:lnTo>
                            <a:pt x="427" y="615"/>
                          </a:lnTo>
                          <a:lnTo>
                            <a:pt x="433" y="617"/>
                          </a:lnTo>
                          <a:lnTo>
                            <a:pt x="450" y="609"/>
                          </a:lnTo>
                          <a:lnTo>
                            <a:pt x="450" y="615"/>
                          </a:lnTo>
                          <a:lnTo>
                            <a:pt x="454" y="617"/>
                          </a:lnTo>
                          <a:lnTo>
                            <a:pt x="457" y="624"/>
                          </a:lnTo>
                          <a:lnTo>
                            <a:pt x="466" y="628"/>
                          </a:lnTo>
                          <a:lnTo>
                            <a:pt x="473" y="638"/>
                          </a:lnTo>
                          <a:lnTo>
                            <a:pt x="469" y="652"/>
                          </a:lnTo>
                          <a:lnTo>
                            <a:pt x="465" y="672"/>
                          </a:lnTo>
                          <a:lnTo>
                            <a:pt x="468" y="674"/>
                          </a:lnTo>
                          <a:lnTo>
                            <a:pt x="463" y="688"/>
                          </a:lnTo>
                          <a:lnTo>
                            <a:pt x="460" y="700"/>
                          </a:lnTo>
                          <a:lnTo>
                            <a:pt x="456" y="704"/>
                          </a:lnTo>
                          <a:lnTo>
                            <a:pt x="456" y="711"/>
                          </a:lnTo>
                          <a:lnTo>
                            <a:pt x="466" y="729"/>
                          </a:lnTo>
                          <a:lnTo>
                            <a:pt x="477" y="743"/>
                          </a:lnTo>
                          <a:lnTo>
                            <a:pt x="496" y="760"/>
                          </a:lnTo>
                          <a:lnTo>
                            <a:pt x="509" y="778"/>
                          </a:lnTo>
                          <a:lnTo>
                            <a:pt x="514" y="790"/>
                          </a:lnTo>
                          <a:lnTo>
                            <a:pt x="515" y="797"/>
                          </a:lnTo>
                          <a:lnTo>
                            <a:pt x="514" y="800"/>
                          </a:lnTo>
                          <a:lnTo>
                            <a:pt x="523" y="810"/>
                          </a:lnTo>
                          <a:lnTo>
                            <a:pt x="526" y="823"/>
                          </a:lnTo>
                          <a:lnTo>
                            <a:pt x="532" y="838"/>
                          </a:lnTo>
                          <a:lnTo>
                            <a:pt x="526" y="846"/>
                          </a:lnTo>
                          <a:lnTo>
                            <a:pt x="525" y="849"/>
                          </a:lnTo>
                          <a:lnTo>
                            <a:pt x="529" y="860"/>
                          </a:lnTo>
                          <a:lnTo>
                            <a:pt x="534" y="870"/>
                          </a:lnTo>
                          <a:lnTo>
                            <a:pt x="540" y="877"/>
                          </a:lnTo>
                          <a:lnTo>
                            <a:pt x="540" y="886"/>
                          </a:lnTo>
                          <a:lnTo>
                            <a:pt x="539" y="900"/>
                          </a:lnTo>
                          <a:lnTo>
                            <a:pt x="532" y="907"/>
                          </a:lnTo>
                          <a:lnTo>
                            <a:pt x="523" y="918"/>
                          </a:lnTo>
                          <a:lnTo>
                            <a:pt x="519" y="926"/>
                          </a:lnTo>
                          <a:lnTo>
                            <a:pt x="514" y="941"/>
                          </a:lnTo>
                          <a:lnTo>
                            <a:pt x="512" y="949"/>
                          </a:lnTo>
                          <a:lnTo>
                            <a:pt x="506" y="966"/>
                          </a:lnTo>
                          <a:lnTo>
                            <a:pt x="505" y="981"/>
                          </a:lnTo>
                          <a:lnTo>
                            <a:pt x="506" y="992"/>
                          </a:lnTo>
                          <a:lnTo>
                            <a:pt x="506" y="1006"/>
                          </a:lnTo>
                          <a:lnTo>
                            <a:pt x="520" y="1024"/>
                          </a:lnTo>
                          <a:lnTo>
                            <a:pt x="525" y="1035"/>
                          </a:lnTo>
                          <a:lnTo>
                            <a:pt x="534" y="1058"/>
                          </a:lnTo>
                          <a:lnTo>
                            <a:pt x="543" y="1072"/>
                          </a:lnTo>
                          <a:lnTo>
                            <a:pt x="549" y="1080"/>
                          </a:lnTo>
                          <a:lnTo>
                            <a:pt x="551" y="1090"/>
                          </a:lnTo>
                          <a:lnTo>
                            <a:pt x="552" y="1112"/>
                          </a:lnTo>
                          <a:lnTo>
                            <a:pt x="557" y="1141"/>
                          </a:lnTo>
                          <a:lnTo>
                            <a:pt x="562" y="1155"/>
                          </a:lnTo>
                          <a:lnTo>
                            <a:pt x="566" y="1173"/>
                          </a:lnTo>
                          <a:lnTo>
                            <a:pt x="572" y="1189"/>
                          </a:lnTo>
                          <a:lnTo>
                            <a:pt x="585" y="1202"/>
                          </a:lnTo>
                          <a:lnTo>
                            <a:pt x="597" y="1229"/>
                          </a:lnTo>
                          <a:lnTo>
                            <a:pt x="597" y="1229"/>
                          </a:lnTo>
                          <a:lnTo>
                            <a:pt x="606" y="1246"/>
                          </a:lnTo>
                          <a:lnTo>
                            <a:pt x="617" y="1264"/>
                          </a:lnTo>
                          <a:lnTo>
                            <a:pt x="618" y="1279"/>
                          </a:lnTo>
                          <a:lnTo>
                            <a:pt x="612" y="1284"/>
                          </a:lnTo>
                          <a:lnTo>
                            <a:pt x="618" y="1296"/>
                          </a:lnTo>
                          <a:lnTo>
                            <a:pt x="618" y="1309"/>
                          </a:lnTo>
                          <a:lnTo>
                            <a:pt x="620" y="1315"/>
                          </a:lnTo>
                          <a:lnTo>
                            <a:pt x="621" y="1312"/>
                          </a:lnTo>
                          <a:lnTo>
                            <a:pt x="627" y="1321"/>
                          </a:lnTo>
                          <a:lnTo>
                            <a:pt x="634" y="1321"/>
                          </a:lnTo>
                          <a:lnTo>
                            <a:pt x="641" y="1329"/>
                          </a:lnTo>
                          <a:lnTo>
                            <a:pt x="649" y="1329"/>
                          </a:lnTo>
                          <a:lnTo>
                            <a:pt x="660" y="1321"/>
                          </a:lnTo>
                          <a:lnTo>
                            <a:pt x="675" y="1318"/>
                          </a:lnTo>
                          <a:lnTo>
                            <a:pt x="692" y="1309"/>
                          </a:lnTo>
                          <a:lnTo>
                            <a:pt x="700" y="1310"/>
                          </a:lnTo>
                          <a:lnTo>
                            <a:pt x="710" y="1307"/>
                          </a:lnTo>
                          <a:lnTo>
                            <a:pt x="729" y="1312"/>
                          </a:lnTo>
                          <a:lnTo>
                            <a:pt x="736" y="1307"/>
                          </a:lnTo>
                          <a:lnTo>
                            <a:pt x="747" y="1310"/>
                          </a:lnTo>
                          <a:lnTo>
                            <a:pt x="750" y="1305"/>
                          </a:lnTo>
                          <a:lnTo>
                            <a:pt x="758" y="1304"/>
                          </a:lnTo>
                          <a:lnTo>
                            <a:pt x="776" y="1296"/>
                          </a:lnTo>
                          <a:lnTo>
                            <a:pt x="790" y="1287"/>
                          </a:lnTo>
                          <a:lnTo>
                            <a:pt x="801" y="1275"/>
                          </a:lnTo>
                          <a:lnTo>
                            <a:pt x="821" y="1253"/>
                          </a:lnTo>
                          <a:lnTo>
                            <a:pt x="830" y="1239"/>
                          </a:lnTo>
                          <a:lnTo>
                            <a:pt x="836" y="1229"/>
                          </a:lnTo>
                          <a:lnTo>
                            <a:pt x="842" y="1219"/>
                          </a:lnTo>
                          <a:lnTo>
                            <a:pt x="847" y="1216"/>
                          </a:lnTo>
                          <a:lnTo>
                            <a:pt x="858" y="1207"/>
                          </a:lnTo>
                          <a:lnTo>
                            <a:pt x="862" y="1198"/>
                          </a:lnTo>
                          <a:lnTo>
                            <a:pt x="864" y="1181"/>
                          </a:lnTo>
                          <a:lnTo>
                            <a:pt x="868" y="1167"/>
                          </a:lnTo>
                          <a:lnTo>
                            <a:pt x="870" y="1158"/>
                          </a:lnTo>
                          <a:lnTo>
                            <a:pt x="865" y="1156"/>
                          </a:lnTo>
                          <a:lnTo>
                            <a:pt x="864" y="1149"/>
                          </a:lnTo>
                          <a:lnTo>
                            <a:pt x="871" y="1141"/>
                          </a:lnTo>
                          <a:lnTo>
                            <a:pt x="893" y="1130"/>
                          </a:lnTo>
                          <a:lnTo>
                            <a:pt x="907" y="1124"/>
                          </a:lnTo>
                          <a:lnTo>
                            <a:pt x="914" y="1118"/>
                          </a:lnTo>
                          <a:lnTo>
                            <a:pt x="916" y="1110"/>
                          </a:lnTo>
                          <a:lnTo>
                            <a:pt x="913" y="1107"/>
                          </a:lnTo>
                          <a:lnTo>
                            <a:pt x="916" y="1098"/>
                          </a:lnTo>
                          <a:lnTo>
                            <a:pt x="916" y="1080"/>
                          </a:lnTo>
                          <a:lnTo>
                            <a:pt x="913" y="1081"/>
                          </a:lnTo>
                          <a:lnTo>
                            <a:pt x="913" y="1075"/>
                          </a:lnTo>
                          <a:lnTo>
                            <a:pt x="908" y="1064"/>
                          </a:lnTo>
                          <a:lnTo>
                            <a:pt x="900" y="1050"/>
                          </a:lnTo>
                          <a:lnTo>
                            <a:pt x="902" y="1038"/>
                          </a:lnTo>
                          <a:lnTo>
                            <a:pt x="910" y="1033"/>
                          </a:lnTo>
                          <a:lnTo>
                            <a:pt x="922" y="1021"/>
                          </a:lnTo>
                          <a:lnTo>
                            <a:pt x="928" y="1016"/>
                          </a:lnTo>
                          <a:lnTo>
                            <a:pt x="948" y="998"/>
                          </a:lnTo>
                          <a:lnTo>
                            <a:pt x="966" y="989"/>
                          </a:lnTo>
                          <a:lnTo>
                            <a:pt x="982" y="983"/>
                          </a:lnTo>
                          <a:lnTo>
                            <a:pt x="994" y="970"/>
                          </a:lnTo>
                          <a:lnTo>
                            <a:pt x="1000" y="958"/>
                          </a:lnTo>
                          <a:lnTo>
                            <a:pt x="1005" y="946"/>
                          </a:lnTo>
                          <a:lnTo>
                            <a:pt x="1002" y="938"/>
                          </a:lnTo>
                          <a:lnTo>
                            <a:pt x="1002" y="910"/>
                          </a:lnTo>
                          <a:lnTo>
                            <a:pt x="1000" y="895"/>
                          </a:lnTo>
                          <a:lnTo>
                            <a:pt x="1000" y="877"/>
                          </a:lnTo>
                          <a:lnTo>
                            <a:pt x="997" y="869"/>
                          </a:lnTo>
                          <a:lnTo>
                            <a:pt x="991" y="866"/>
                          </a:lnTo>
                          <a:lnTo>
                            <a:pt x="983" y="849"/>
                          </a:lnTo>
                          <a:lnTo>
                            <a:pt x="979" y="837"/>
                          </a:lnTo>
                          <a:lnTo>
                            <a:pt x="979" y="829"/>
                          </a:lnTo>
                          <a:lnTo>
                            <a:pt x="979" y="824"/>
                          </a:lnTo>
                          <a:lnTo>
                            <a:pt x="983" y="814"/>
                          </a:lnTo>
                          <a:lnTo>
                            <a:pt x="982" y="809"/>
                          </a:lnTo>
                          <a:lnTo>
                            <a:pt x="971" y="803"/>
                          </a:lnTo>
                          <a:lnTo>
                            <a:pt x="971" y="794"/>
                          </a:lnTo>
                          <a:lnTo>
                            <a:pt x="979" y="772"/>
                          </a:lnTo>
                          <a:lnTo>
                            <a:pt x="985" y="766"/>
                          </a:lnTo>
                          <a:lnTo>
                            <a:pt x="988" y="755"/>
                          </a:lnTo>
                          <a:lnTo>
                            <a:pt x="994" y="747"/>
                          </a:lnTo>
                          <a:lnTo>
                            <a:pt x="997" y="735"/>
                          </a:lnTo>
                          <a:lnTo>
                            <a:pt x="1003" y="734"/>
                          </a:lnTo>
                          <a:lnTo>
                            <a:pt x="1008" y="727"/>
                          </a:lnTo>
                          <a:lnTo>
                            <a:pt x="1019" y="720"/>
                          </a:lnTo>
                          <a:lnTo>
                            <a:pt x="1023" y="717"/>
                          </a:lnTo>
                          <a:lnTo>
                            <a:pt x="1028" y="707"/>
                          </a:lnTo>
                          <a:lnTo>
                            <a:pt x="1046" y="686"/>
                          </a:lnTo>
                          <a:lnTo>
                            <a:pt x="1062" y="674"/>
                          </a:lnTo>
                          <a:lnTo>
                            <a:pt x="1088" y="657"/>
                          </a:lnTo>
                          <a:lnTo>
                            <a:pt x="1104" y="643"/>
                          </a:lnTo>
                          <a:lnTo>
                            <a:pt x="1124" y="620"/>
                          </a:lnTo>
                          <a:lnTo>
                            <a:pt x="1140" y="600"/>
                          </a:lnTo>
                          <a:lnTo>
                            <a:pt x="1155" y="575"/>
                          </a:lnTo>
                          <a:lnTo>
                            <a:pt x="1166" y="552"/>
                          </a:lnTo>
                          <a:lnTo>
                            <a:pt x="1174" y="534"/>
                          </a:lnTo>
                          <a:lnTo>
                            <a:pt x="1178" y="514"/>
                          </a:lnTo>
                          <a:lnTo>
                            <a:pt x="1183" y="508"/>
                          </a:lnTo>
                          <a:lnTo>
                            <a:pt x="1181" y="498"/>
                          </a:lnTo>
                          <a:lnTo>
                            <a:pt x="1184" y="489"/>
                          </a:lnTo>
                          <a:close/>
                          <a:moveTo>
                            <a:pt x="1167" y="947"/>
                          </a:moveTo>
                          <a:lnTo>
                            <a:pt x="1172" y="955"/>
                          </a:lnTo>
                          <a:lnTo>
                            <a:pt x="1170" y="964"/>
                          </a:lnTo>
                          <a:lnTo>
                            <a:pt x="1167" y="969"/>
                          </a:lnTo>
                          <a:lnTo>
                            <a:pt x="1161" y="958"/>
                          </a:lnTo>
                          <a:lnTo>
                            <a:pt x="1158" y="964"/>
                          </a:lnTo>
                          <a:lnTo>
                            <a:pt x="1161" y="977"/>
                          </a:lnTo>
                          <a:lnTo>
                            <a:pt x="1160" y="984"/>
                          </a:lnTo>
                          <a:lnTo>
                            <a:pt x="1155" y="989"/>
                          </a:lnTo>
                          <a:lnTo>
                            <a:pt x="1154" y="1004"/>
                          </a:lnTo>
                          <a:lnTo>
                            <a:pt x="1147" y="1026"/>
                          </a:lnTo>
                          <a:lnTo>
                            <a:pt x="1140" y="1050"/>
                          </a:lnTo>
                          <a:lnTo>
                            <a:pt x="1129" y="1086"/>
                          </a:lnTo>
                          <a:lnTo>
                            <a:pt x="1121" y="1112"/>
                          </a:lnTo>
                          <a:lnTo>
                            <a:pt x="1114" y="1133"/>
                          </a:lnTo>
                          <a:lnTo>
                            <a:pt x="1100" y="1138"/>
                          </a:lnTo>
                          <a:lnTo>
                            <a:pt x="1085" y="1146"/>
                          </a:lnTo>
                          <a:lnTo>
                            <a:pt x="1075" y="1141"/>
                          </a:lnTo>
                          <a:lnTo>
                            <a:pt x="1062" y="1133"/>
                          </a:lnTo>
                          <a:lnTo>
                            <a:pt x="1057" y="1124"/>
                          </a:lnTo>
                          <a:lnTo>
                            <a:pt x="1055" y="1107"/>
                          </a:lnTo>
                          <a:lnTo>
                            <a:pt x="1049" y="1092"/>
                          </a:lnTo>
                          <a:lnTo>
                            <a:pt x="1048" y="1080"/>
                          </a:lnTo>
                          <a:lnTo>
                            <a:pt x="1051" y="1066"/>
                          </a:lnTo>
                          <a:lnTo>
                            <a:pt x="1058" y="1063"/>
                          </a:lnTo>
                          <a:lnTo>
                            <a:pt x="1058" y="1056"/>
                          </a:lnTo>
                          <a:lnTo>
                            <a:pt x="1068" y="1043"/>
                          </a:lnTo>
                          <a:lnTo>
                            <a:pt x="1069" y="1030"/>
                          </a:lnTo>
                          <a:lnTo>
                            <a:pt x="1065" y="1023"/>
                          </a:lnTo>
                          <a:lnTo>
                            <a:pt x="1062" y="1010"/>
                          </a:lnTo>
                          <a:lnTo>
                            <a:pt x="1060" y="995"/>
                          </a:lnTo>
                          <a:lnTo>
                            <a:pt x="1066" y="984"/>
                          </a:lnTo>
                          <a:lnTo>
                            <a:pt x="1069" y="973"/>
                          </a:lnTo>
                          <a:lnTo>
                            <a:pt x="1077" y="972"/>
                          </a:lnTo>
                          <a:lnTo>
                            <a:pt x="1086" y="969"/>
                          </a:lnTo>
                          <a:lnTo>
                            <a:pt x="1094" y="966"/>
                          </a:lnTo>
                          <a:lnTo>
                            <a:pt x="1100" y="966"/>
                          </a:lnTo>
                          <a:lnTo>
                            <a:pt x="1111" y="955"/>
                          </a:lnTo>
                          <a:lnTo>
                            <a:pt x="1124" y="944"/>
                          </a:lnTo>
                          <a:lnTo>
                            <a:pt x="1129" y="935"/>
                          </a:lnTo>
                          <a:lnTo>
                            <a:pt x="1127" y="927"/>
                          </a:lnTo>
                          <a:lnTo>
                            <a:pt x="1135" y="930"/>
                          </a:lnTo>
                          <a:lnTo>
                            <a:pt x="1144" y="918"/>
                          </a:lnTo>
                          <a:lnTo>
                            <a:pt x="1144" y="907"/>
                          </a:lnTo>
                          <a:lnTo>
                            <a:pt x="1151" y="900"/>
                          </a:lnTo>
                          <a:lnTo>
                            <a:pt x="1157" y="906"/>
                          </a:lnTo>
                          <a:lnTo>
                            <a:pt x="1161" y="913"/>
                          </a:lnTo>
                          <a:lnTo>
                            <a:pt x="1164" y="926"/>
                          </a:lnTo>
                          <a:lnTo>
                            <a:pt x="1167" y="947"/>
                          </a:lnTo>
                          <a:close/>
                        </a:path>
                      </a:pathLst>
                    </a:custGeom>
                    <a:solidFill>
                      <a:srgbClr val="D9D9D9"/>
                    </a:solidFill>
                    <a:ln w="4763" cap="flat">
                      <a:solidFill>
                        <a:srgbClr val="FFFFFF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endParaRPr lang="en-US" sz="1000" dirty="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53" name="Etiquettes">
                    <a:extLst>
                      <a:ext uri="{FF2B5EF4-FFF2-40B4-BE49-F238E27FC236}">
                        <a16:creationId xmlns:a16="http://schemas.microsoft.com/office/drawing/2014/main" id="{D0BA638D-BD2A-4B1E-AD50-FDEF75B4192F}"/>
                      </a:ext>
                    </a:extLst>
                  </p:cNvPr>
                  <p:cNvGrpSpPr/>
                  <p:nvPr/>
                </p:nvGrpSpPr>
                <p:grpSpPr>
                  <a:xfrm>
                    <a:off x="3382157" y="3163092"/>
                    <a:ext cx="5603020" cy="2168922"/>
                    <a:chOff x="3382157" y="3163092"/>
                    <a:chExt cx="5603020" cy="2168922"/>
                  </a:xfrm>
                </p:grpSpPr>
                <p:sp>
                  <p:nvSpPr>
                    <p:cNvPr id="54" name="Etiquette - North America" hidden="1">
                      <a:extLst>
                        <a:ext uri="{FF2B5EF4-FFF2-40B4-BE49-F238E27FC236}">
                          <a16:creationId xmlns:a16="http://schemas.microsoft.com/office/drawing/2014/main" id="{47A3368B-754F-4B68-84F1-0CCB4B1D62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82157" y="3509713"/>
                      <a:ext cx="1002198" cy="246221"/>
                    </a:xfrm>
                    <a:prstGeom prst="rect">
                      <a:avLst/>
                    </a:prstGeom>
                  </p:spPr>
                  <p:txBody>
                    <a:bodyPr wrap="none" anchor="ctr">
                      <a:spAutoFit/>
                    </a:bodyPr>
                    <a:lstStyle/>
                    <a:p>
                      <a:pPr algn="ctr"/>
                      <a:r>
                        <a:rPr lang="en-US" sz="1000">
                          <a:solidFill>
                            <a:srgbClr val="000000"/>
                          </a:solidFill>
                        </a:rPr>
                        <a:t>North America</a:t>
                      </a:r>
                      <a:endParaRPr lang="en-US" sz="1000" dirty="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55" name="Etiquette - South America" hidden="1">
                      <a:extLst>
                        <a:ext uri="{FF2B5EF4-FFF2-40B4-BE49-F238E27FC236}">
                          <a16:creationId xmlns:a16="http://schemas.microsoft.com/office/drawing/2014/main" id="{7300B893-8D4F-4B59-A1D0-79201E553D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74866" y="4797699"/>
                      <a:ext cx="1021434" cy="246221"/>
                    </a:xfrm>
                    <a:prstGeom prst="rect">
                      <a:avLst/>
                    </a:prstGeom>
                  </p:spPr>
                  <p:txBody>
                    <a:bodyPr wrap="none" anchor="ctr">
                      <a:spAutoFit/>
                    </a:bodyPr>
                    <a:lstStyle/>
                    <a:p>
                      <a:pPr algn="ctr"/>
                      <a:r>
                        <a:rPr lang="en-US" sz="1000">
                          <a:solidFill>
                            <a:srgbClr val="000000"/>
                          </a:solidFill>
                        </a:rPr>
                        <a:t>South America</a:t>
                      </a:r>
                      <a:endParaRPr lang="en-US" sz="1000" dirty="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56" name="Etiquette - Africa" hidden="1">
                      <a:extLst>
                        <a:ext uri="{FF2B5EF4-FFF2-40B4-BE49-F238E27FC236}">
                          <a16:creationId xmlns:a16="http://schemas.microsoft.com/office/drawing/2014/main" id="{574A6E1F-19EC-43E1-AF3F-3A03425A8E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9880" y="4218075"/>
                      <a:ext cx="511680" cy="246221"/>
                    </a:xfrm>
                    <a:prstGeom prst="rect">
                      <a:avLst/>
                    </a:prstGeom>
                  </p:spPr>
                  <p:txBody>
                    <a:bodyPr wrap="none" anchor="ctr">
                      <a:spAutoFit/>
                    </a:bodyPr>
                    <a:lstStyle/>
                    <a:p>
                      <a:pPr algn="ctr"/>
                      <a:r>
                        <a:rPr lang="en-US" sz="1000">
                          <a:solidFill>
                            <a:srgbClr val="000000"/>
                          </a:solidFill>
                        </a:rPr>
                        <a:t>Africa</a:t>
                      </a:r>
                      <a:endParaRPr lang="en-US" sz="1000" dirty="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57" name="Etiquette - Oceania" hidden="1">
                      <a:extLst>
                        <a:ext uri="{FF2B5EF4-FFF2-40B4-BE49-F238E27FC236}">
                          <a16:creationId xmlns:a16="http://schemas.microsoft.com/office/drawing/2014/main" id="{E7C67C46-6DD1-4EEE-B0A0-FDD7D507558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26021" y="5085793"/>
                      <a:ext cx="659156" cy="246221"/>
                    </a:xfrm>
                    <a:prstGeom prst="rect">
                      <a:avLst/>
                    </a:prstGeom>
                  </p:spPr>
                  <p:txBody>
                    <a:bodyPr wrap="none" anchor="ctr">
                      <a:spAutoFit/>
                    </a:bodyPr>
                    <a:lstStyle/>
                    <a:p>
                      <a:pPr algn="ctr"/>
                      <a:r>
                        <a:rPr lang="en-US" sz="1000">
                          <a:solidFill>
                            <a:srgbClr val="000000"/>
                          </a:solidFill>
                        </a:rPr>
                        <a:t>Oceania</a:t>
                      </a:r>
                      <a:endParaRPr lang="en-US" sz="1000" dirty="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58" name="Etiquette - Asia" hidden="1">
                      <a:extLst>
                        <a:ext uri="{FF2B5EF4-FFF2-40B4-BE49-F238E27FC236}">
                          <a16:creationId xmlns:a16="http://schemas.microsoft.com/office/drawing/2014/main" id="{EC294FB7-AC53-4A64-ABAA-31130ADB12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42686" y="3163092"/>
                      <a:ext cx="433132" cy="246221"/>
                    </a:xfrm>
                    <a:prstGeom prst="rect">
                      <a:avLst/>
                    </a:prstGeom>
                  </p:spPr>
                  <p:txBody>
                    <a:bodyPr wrap="none" anchor="ctr">
                      <a:spAutoFit/>
                    </a:bodyPr>
                    <a:lstStyle/>
                    <a:p>
                      <a:pPr algn="ctr"/>
                      <a:r>
                        <a:rPr lang="en-US" sz="1000">
                          <a:solidFill>
                            <a:srgbClr val="000000"/>
                          </a:solidFill>
                        </a:rPr>
                        <a:t>Asia</a:t>
                      </a:r>
                      <a:endParaRPr lang="en-US" sz="1000" dirty="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59" name="Etiquette - Europe" hidden="1">
                      <a:extLst>
                        <a:ext uri="{FF2B5EF4-FFF2-40B4-BE49-F238E27FC236}">
                          <a16:creationId xmlns:a16="http://schemas.microsoft.com/office/drawing/2014/main" id="{E3F69CD9-2358-49C0-9BA7-918212DE93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84522" y="3383787"/>
                      <a:ext cx="595035" cy="246221"/>
                    </a:xfrm>
                    <a:prstGeom prst="rect">
                      <a:avLst/>
                    </a:prstGeom>
                  </p:spPr>
                  <p:txBody>
                    <a:bodyPr wrap="none" anchor="ctr">
                      <a:spAutoFit/>
                    </a:bodyPr>
                    <a:lstStyle/>
                    <a:p>
                      <a:pPr algn="ctr"/>
                      <a:r>
                        <a:rPr lang="en-US" sz="1000">
                          <a:solidFill>
                            <a:srgbClr val="000000"/>
                          </a:solidFill>
                        </a:rPr>
                        <a:t>Europe</a:t>
                      </a:r>
                      <a:endParaRPr lang="en-US" sz="1000" dirty="0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27" name="GradientColorLegend">
                  <a:extLst>
                    <a:ext uri="{FF2B5EF4-FFF2-40B4-BE49-F238E27FC236}">
                      <a16:creationId xmlns:a16="http://schemas.microsoft.com/office/drawing/2014/main" id="{10B02C50-3F51-4336-A26C-CC579C3A3D34}"/>
                    </a:ext>
                  </a:extLst>
                </p:cNvPr>
                <p:cNvGrpSpPr/>
                <p:nvPr/>
              </p:nvGrpSpPr>
              <p:grpSpPr>
                <a:xfrm>
                  <a:off x="2398087" y="4051000"/>
                  <a:ext cx="120073" cy="1700347"/>
                  <a:chOff x="1066170" y="2413724"/>
                  <a:chExt cx="120073" cy="1700347"/>
                </a:xfrm>
              </p:grpSpPr>
              <p:sp>
                <p:nvSpPr>
                  <p:cNvPr id="49" name="Etiquette - GradientColorLegend - DARK - Shape" hidden="1">
                    <a:extLst>
                      <a:ext uri="{FF2B5EF4-FFF2-40B4-BE49-F238E27FC236}">
                        <a16:creationId xmlns:a16="http://schemas.microsoft.com/office/drawing/2014/main" id="{C475FF29-1B89-4CF0-932A-A6B10F9D5652}"/>
                      </a:ext>
                    </a:extLst>
                  </p:cNvPr>
                  <p:cNvSpPr/>
                  <p:nvPr/>
                </p:nvSpPr>
                <p:spPr>
                  <a:xfrm>
                    <a:off x="1066170" y="2575168"/>
                    <a:ext cx="120073" cy="1382400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9D9D9"/>
                      </a:gs>
                      <a:gs pos="100000">
                        <a:srgbClr val="D9D9D9"/>
                      </a:gs>
                    </a:gsLst>
                    <a:lin ang="54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 dirty="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50" name="Etiquette - GradientColorLegend - DARK - MaxValue" hidden="1">
                    <a:extLst>
                      <a:ext uri="{FF2B5EF4-FFF2-40B4-BE49-F238E27FC236}">
                        <a16:creationId xmlns:a16="http://schemas.microsoft.com/office/drawing/2014/main" id="{F7E90824-3AC3-4244-A1EF-1AD96D88E0AE}"/>
                      </a:ext>
                    </a:extLst>
                  </p:cNvPr>
                  <p:cNvSpPr txBox="1"/>
                  <p:nvPr/>
                </p:nvSpPr>
                <p:spPr>
                  <a:xfrm>
                    <a:off x="1090940" y="2413724"/>
                    <a:ext cx="70532" cy="153888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b">
                    <a:spAutoFit/>
                  </a:bodyPr>
                  <a:lstStyle/>
                  <a:p>
                    <a:pPr algn="ctr"/>
                    <a:r>
                      <a:rPr lang="en-US" sz="1000">
                        <a:solidFill>
                          <a:prstClr val="black"/>
                        </a:solidFill>
                      </a:rPr>
                      <a:t>1</a:t>
                    </a:r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1" name="Etiquette - GradientColorLegend - DARK - MinValue" hidden="1">
                    <a:extLst>
                      <a:ext uri="{FF2B5EF4-FFF2-40B4-BE49-F238E27FC236}">
                        <a16:creationId xmlns:a16="http://schemas.microsoft.com/office/drawing/2014/main" id="{AED28895-95DD-446D-A0B4-00FADDF0B9B7}"/>
                      </a:ext>
                    </a:extLst>
                  </p:cNvPr>
                  <p:cNvSpPr txBox="1"/>
                  <p:nvPr/>
                </p:nvSpPr>
                <p:spPr>
                  <a:xfrm>
                    <a:off x="1090940" y="3960183"/>
                    <a:ext cx="70532" cy="153888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/>
                    <a:r>
                      <a:rPr lang="en-US" sz="1000">
                        <a:solidFill>
                          <a:prstClr val="black"/>
                        </a:solidFill>
                      </a:rPr>
                      <a:t>1</a:t>
                    </a:r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28" name="RangeColorLegend">
                  <a:extLst>
                    <a:ext uri="{FF2B5EF4-FFF2-40B4-BE49-F238E27FC236}">
                      <a16:creationId xmlns:a16="http://schemas.microsoft.com/office/drawing/2014/main" id="{1E79F111-6A54-4F7F-A536-15DB506CDD35}"/>
                    </a:ext>
                  </a:extLst>
                </p:cNvPr>
                <p:cNvGrpSpPr/>
                <p:nvPr/>
              </p:nvGrpSpPr>
              <p:grpSpPr>
                <a:xfrm>
                  <a:off x="1892976" y="4504938"/>
                  <a:ext cx="1270800" cy="1538880"/>
                  <a:chOff x="9228362" y="4919762"/>
                  <a:chExt cx="1270800" cy="1538880"/>
                </a:xfrm>
              </p:grpSpPr>
              <p:sp>
                <p:nvSpPr>
                  <p:cNvPr id="29" name="Etiquette - RangeColorLegend - DARK - Color - 2" hidden="1">
                    <a:extLst>
                      <a:ext uri="{FF2B5EF4-FFF2-40B4-BE49-F238E27FC236}">
                        <a16:creationId xmlns:a16="http://schemas.microsoft.com/office/drawing/2014/main" id="{F6CE497B-26F8-4249-8928-42F5DCF835F6}"/>
                      </a:ext>
                    </a:extLst>
                  </p:cNvPr>
                  <p:cNvSpPr/>
                  <p:nvPr/>
                </p:nvSpPr>
                <p:spPr>
                  <a:xfrm>
                    <a:off x="9228362" y="5073650"/>
                    <a:ext cx="154800" cy="153888"/>
                  </a:xfrm>
                  <a:prstGeom prst="rect">
                    <a:avLst/>
                  </a:prstGeom>
                  <a:solidFill>
                    <a:srgbClr val="FA6414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" name="Etiquette - RangeColorLegend - DARK - Color - 1" hidden="1">
                    <a:extLst>
                      <a:ext uri="{FF2B5EF4-FFF2-40B4-BE49-F238E27FC236}">
                        <a16:creationId xmlns:a16="http://schemas.microsoft.com/office/drawing/2014/main" id="{04233E78-81D5-4DC5-862C-6B926E3F1F8F}"/>
                      </a:ext>
                    </a:extLst>
                  </p:cNvPr>
                  <p:cNvSpPr/>
                  <p:nvPr/>
                </p:nvSpPr>
                <p:spPr>
                  <a:xfrm>
                    <a:off x="9228362" y="4919762"/>
                    <a:ext cx="154800" cy="153888"/>
                  </a:xfrm>
                  <a:prstGeom prst="rect">
                    <a:avLst/>
                  </a:prstGeom>
                  <a:solidFill>
                    <a:srgbClr val="FBF315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1" name="Etiquette - RangeColorLegend - DARK - Number - 2" hidden="1">
                    <a:extLst>
                      <a:ext uri="{FF2B5EF4-FFF2-40B4-BE49-F238E27FC236}">
                        <a16:creationId xmlns:a16="http://schemas.microsoft.com/office/drawing/2014/main" id="{F1D78213-A7BA-467B-87AD-F7F27EA6989A}"/>
                      </a:ext>
                    </a:extLst>
                  </p:cNvPr>
                  <p:cNvSpPr/>
                  <p:nvPr/>
                </p:nvSpPr>
                <p:spPr>
                  <a:xfrm>
                    <a:off x="9383162" y="5073650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US" sz="1000">
                        <a:solidFill>
                          <a:prstClr val="black"/>
                        </a:solidFill>
                      </a:rPr>
                      <a:t>&lt; 1</a:t>
                    </a:r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2" name="Etiquette - RangeColorLegend - DARK - Number - 1" hidden="1">
                    <a:extLst>
                      <a:ext uri="{FF2B5EF4-FFF2-40B4-BE49-F238E27FC236}">
                        <a16:creationId xmlns:a16="http://schemas.microsoft.com/office/drawing/2014/main" id="{19CD5265-D88C-45DA-939C-88B33001A64A}"/>
                      </a:ext>
                    </a:extLst>
                  </p:cNvPr>
                  <p:cNvSpPr/>
                  <p:nvPr/>
                </p:nvSpPr>
                <p:spPr>
                  <a:xfrm>
                    <a:off x="9383162" y="4919762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US" sz="1000">
                        <a:solidFill>
                          <a:prstClr val="black"/>
                        </a:solidFill>
                      </a:rPr>
                      <a:t>1+</a:t>
                    </a:r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3" name="Etiquette - RangeColorLegend - DARK - Color - 4" hidden="1">
                    <a:extLst>
                      <a:ext uri="{FF2B5EF4-FFF2-40B4-BE49-F238E27FC236}">
                        <a16:creationId xmlns:a16="http://schemas.microsoft.com/office/drawing/2014/main" id="{D1482D3E-5E1E-43B8-B01C-876314AC0540}"/>
                      </a:ext>
                    </a:extLst>
                  </p:cNvPr>
                  <p:cNvSpPr/>
                  <p:nvPr/>
                </p:nvSpPr>
                <p:spPr>
                  <a:xfrm>
                    <a:off x="9228362" y="5381426"/>
                    <a:ext cx="154800" cy="153888"/>
                  </a:xfrm>
                  <a:prstGeom prst="rect">
                    <a:avLst/>
                  </a:prstGeom>
                  <a:solidFill>
                    <a:srgbClr val="FFC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4" name="Etiquette - RangeColorLegend - DARK - Color - 3" hidden="1">
                    <a:extLst>
                      <a:ext uri="{FF2B5EF4-FFF2-40B4-BE49-F238E27FC236}">
                        <a16:creationId xmlns:a16="http://schemas.microsoft.com/office/drawing/2014/main" id="{CE85C03C-07DF-4772-B467-FC97BD3332A3}"/>
                      </a:ext>
                    </a:extLst>
                  </p:cNvPr>
                  <p:cNvSpPr/>
                  <p:nvPr/>
                </p:nvSpPr>
                <p:spPr>
                  <a:xfrm>
                    <a:off x="9228362" y="5227538"/>
                    <a:ext cx="154800" cy="153888"/>
                  </a:xfrm>
                  <a:prstGeom prst="rect">
                    <a:avLst/>
                  </a:prstGeom>
                  <a:solidFill>
                    <a:srgbClr val="FFFF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5" name="Etiquette - RangeColorLegend - DARK - Number - 4" hidden="1">
                    <a:extLst>
                      <a:ext uri="{FF2B5EF4-FFF2-40B4-BE49-F238E27FC236}">
                        <a16:creationId xmlns:a16="http://schemas.microsoft.com/office/drawing/2014/main" id="{0566287C-AF6A-471A-9D46-958DC0059A06}"/>
                      </a:ext>
                    </a:extLst>
                  </p:cNvPr>
                  <p:cNvSpPr/>
                  <p:nvPr/>
                </p:nvSpPr>
                <p:spPr>
                  <a:xfrm>
                    <a:off x="9383162" y="5381426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US" sz="1000" dirty="0">
                        <a:solidFill>
                          <a:prstClr val="black"/>
                        </a:solidFill>
                      </a:rPr>
                      <a:t>[300 to 400[</a:t>
                    </a:r>
                  </a:p>
                </p:txBody>
              </p:sp>
              <p:sp>
                <p:nvSpPr>
                  <p:cNvPr id="36" name="Etiquette - RangeColorLegend - DARK - Number - 3" hidden="1">
                    <a:extLst>
                      <a:ext uri="{FF2B5EF4-FFF2-40B4-BE49-F238E27FC236}">
                        <a16:creationId xmlns:a16="http://schemas.microsoft.com/office/drawing/2014/main" id="{7B2C0DD2-2432-410D-B199-47E11206BAA6}"/>
                      </a:ext>
                    </a:extLst>
                  </p:cNvPr>
                  <p:cNvSpPr/>
                  <p:nvPr/>
                </p:nvSpPr>
                <p:spPr>
                  <a:xfrm>
                    <a:off x="9383162" y="5227538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US" sz="1000" dirty="0">
                        <a:solidFill>
                          <a:prstClr val="black"/>
                        </a:solidFill>
                      </a:rPr>
                      <a:t>[200 to 300[</a:t>
                    </a:r>
                  </a:p>
                </p:txBody>
              </p:sp>
              <p:sp>
                <p:nvSpPr>
                  <p:cNvPr id="37" name="Etiquette - RangeColorLegend - DARK - Color - 5" hidden="1">
                    <a:extLst>
                      <a:ext uri="{FF2B5EF4-FFF2-40B4-BE49-F238E27FC236}">
                        <a16:creationId xmlns:a16="http://schemas.microsoft.com/office/drawing/2014/main" id="{E05FBFEF-2966-4C76-A3FB-24C49EE26411}"/>
                      </a:ext>
                    </a:extLst>
                  </p:cNvPr>
                  <p:cNvSpPr/>
                  <p:nvPr/>
                </p:nvSpPr>
                <p:spPr>
                  <a:xfrm>
                    <a:off x="9228362" y="5535314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" name="Etiquette - RangeColorLegend - DARK - Number - 5" hidden="1">
                    <a:extLst>
                      <a:ext uri="{FF2B5EF4-FFF2-40B4-BE49-F238E27FC236}">
                        <a16:creationId xmlns:a16="http://schemas.microsoft.com/office/drawing/2014/main" id="{917F0808-5FC2-4420-BF6B-227CECCD8C45}"/>
                      </a:ext>
                    </a:extLst>
                  </p:cNvPr>
                  <p:cNvSpPr/>
                  <p:nvPr/>
                </p:nvSpPr>
                <p:spPr>
                  <a:xfrm>
                    <a:off x="9383162" y="5535314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US" sz="1000" dirty="0">
                        <a:solidFill>
                          <a:prstClr val="black"/>
                        </a:solidFill>
                      </a:rPr>
                      <a:t>400+</a:t>
                    </a:r>
                  </a:p>
                </p:txBody>
              </p:sp>
              <p:sp>
                <p:nvSpPr>
                  <p:cNvPr id="39" name="Etiquette - RangeColorLegend - DARK - Color - 6" hidden="1">
                    <a:extLst>
                      <a:ext uri="{FF2B5EF4-FFF2-40B4-BE49-F238E27FC236}">
                        <a16:creationId xmlns:a16="http://schemas.microsoft.com/office/drawing/2014/main" id="{BE67366A-20E8-45EA-AD8B-388468069164}"/>
                      </a:ext>
                    </a:extLst>
                  </p:cNvPr>
                  <p:cNvSpPr/>
                  <p:nvPr/>
                </p:nvSpPr>
                <p:spPr>
                  <a:xfrm>
                    <a:off x="9228362" y="5689202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0" name="Etiquette - RangeColorLegend - DARK - Number - 6" hidden="1">
                    <a:extLst>
                      <a:ext uri="{FF2B5EF4-FFF2-40B4-BE49-F238E27FC236}">
                        <a16:creationId xmlns:a16="http://schemas.microsoft.com/office/drawing/2014/main" id="{0468D760-9CB3-400D-AFCB-F51F7BA8A31C}"/>
                      </a:ext>
                    </a:extLst>
                  </p:cNvPr>
                  <p:cNvSpPr/>
                  <p:nvPr/>
                </p:nvSpPr>
                <p:spPr>
                  <a:xfrm>
                    <a:off x="9383162" y="5689202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US" sz="1000" dirty="0">
                        <a:solidFill>
                          <a:prstClr val="black"/>
                        </a:solidFill>
                      </a:rPr>
                      <a:t>400+</a:t>
                    </a:r>
                  </a:p>
                </p:txBody>
              </p:sp>
              <p:sp>
                <p:nvSpPr>
                  <p:cNvPr id="41" name="Etiquette - RangeColorLegend - DARK - Color - 7" hidden="1">
                    <a:extLst>
                      <a:ext uri="{FF2B5EF4-FFF2-40B4-BE49-F238E27FC236}">
                        <a16:creationId xmlns:a16="http://schemas.microsoft.com/office/drawing/2014/main" id="{773314BE-7D6A-4138-83B4-064AD3D902C8}"/>
                      </a:ext>
                    </a:extLst>
                  </p:cNvPr>
                  <p:cNvSpPr/>
                  <p:nvPr/>
                </p:nvSpPr>
                <p:spPr>
                  <a:xfrm>
                    <a:off x="9228362" y="5843090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" name="Etiquette - RangeColorLegend - DARK - Number - 7" hidden="1">
                    <a:extLst>
                      <a:ext uri="{FF2B5EF4-FFF2-40B4-BE49-F238E27FC236}">
                        <a16:creationId xmlns:a16="http://schemas.microsoft.com/office/drawing/2014/main" id="{04994AFA-1836-43A2-A3FF-EC964E54093B}"/>
                      </a:ext>
                    </a:extLst>
                  </p:cNvPr>
                  <p:cNvSpPr/>
                  <p:nvPr/>
                </p:nvSpPr>
                <p:spPr>
                  <a:xfrm>
                    <a:off x="9383162" y="5843090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US" sz="1000" dirty="0">
                        <a:solidFill>
                          <a:prstClr val="black"/>
                        </a:solidFill>
                      </a:rPr>
                      <a:t>400+</a:t>
                    </a:r>
                  </a:p>
                </p:txBody>
              </p:sp>
              <p:sp>
                <p:nvSpPr>
                  <p:cNvPr id="43" name="Etiquette - RangeColorLegend - DARK - Color - 8" hidden="1">
                    <a:extLst>
                      <a:ext uri="{FF2B5EF4-FFF2-40B4-BE49-F238E27FC236}">
                        <a16:creationId xmlns:a16="http://schemas.microsoft.com/office/drawing/2014/main" id="{BE77618A-987F-455B-9A1A-68EA9B7E2F26}"/>
                      </a:ext>
                    </a:extLst>
                  </p:cNvPr>
                  <p:cNvSpPr/>
                  <p:nvPr/>
                </p:nvSpPr>
                <p:spPr>
                  <a:xfrm>
                    <a:off x="9228362" y="5996978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4" name="Etiquette - RangeColorLegend - DARK - Number - 8" hidden="1">
                    <a:extLst>
                      <a:ext uri="{FF2B5EF4-FFF2-40B4-BE49-F238E27FC236}">
                        <a16:creationId xmlns:a16="http://schemas.microsoft.com/office/drawing/2014/main" id="{2B698008-5699-4446-A0E3-612FA54B8E49}"/>
                      </a:ext>
                    </a:extLst>
                  </p:cNvPr>
                  <p:cNvSpPr/>
                  <p:nvPr/>
                </p:nvSpPr>
                <p:spPr>
                  <a:xfrm>
                    <a:off x="9383162" y="5996978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US" sz="1000" dirty="0">
                        <a:solidFill>
                          <a:prstClr val="black"/>
                        </a:solidFill>
                      </a:rPr>
                      <a:t>400+</a:t>
                    </a:r>
                  </a:p>
                </p:txBody>
              </p:sp>
              <p:sp>
                <p:nvSpPr>
                  <p:cNvPr id="45" name="Etiquette - RangeColorLegend - DARK - Color - 9" hidden="1">
                    <a:extLst>
                      <a:ext uri="{FF2B5EF4-FFF2-40B4-BE49-F238E27FC236}">
                        <a16:creationId xmlns:a16="http://schemas.microsoft.com/office/drawing/2014/main" id="{7442365B-0990-48CF-9C39-F5F5226F6F0F}"/>
                      </a:ext>
                    </a:extLst>
                  </p:cNvPr>
                  <p:cNvSpPr/>
                  <p:nvPr/>
                </p:nvSpPr>
                <p:spPr>
                  <a:xfrm>
                    <a:off x="9228362" y="6150866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6" name="Etiquette - RangeColorLegend - DARK - Number - 9" hidden="1">
                    <a:extLst>
                      <a:ext uri="{FF2B5EF4-FFF2-40B4-BE49-F238E27FC236}">
                        <a16:creationId xmlns:a16="http://schemas.microsoft.com/office/drawing/2014/main" id="{66585576-4AE5-4A71-87E4-A8D9DB64123B}"/>
                      </a:ext>
                    </a:extLst>
                  </p:cNvPr>
                  <p:cNvSpPr/>
                  <p:nvPr/>
                </p:nvSpPr>
                <p:spPr>
                  <a:xfrm>
                    <a:off x="9383162" y="6150866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US" sz="1000" dirty="0">
                        <a:solidFill>
                          <a:prstClr val="black"/>
                        </a:solidFill>
                      </a:rPr>
                      <a:t>400+</a:t>
                    </a:r>
                  </a:p>
                </p:txBody>
              </p:sp>
              <p:sp>
                <p:nvSpPr>
                  <p:cNvPr id="47" name="Etiquette - RangeColorLegend - DARK - Color - 10" hidden="1">
                    <a:extLst>
                      <a:ext uri="{FF2B5EF4-FFF2-40B4-BE49-F238E27FC236}">
                        <a16:creationId xmlns:a16="http://schemas.microsoft.com/office/drawing/2014/main" id="{C29C7DB8-93DE-4145-BDFC-20181930FB0E}"/>
                      </a:ext>
                    </a:extLst>
                  </p:cNvPr>
                  <p:cNvSpPr/>
                  <p:nvPr/>
                </p:nvSpPr>
                <p:spPr>
                  <a:xfrm>
                    <a:off x="9228362" y="6304754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US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8" name="Etiquette - RangeColorLegend - DARK - Number - 10" hidden="1">
                    <a:extLst>
                      <a:ext uri="{FF2B5EF4-FFF2-40B4-BE49-F238E27FC236}">
                        <a16:creationId xmlns:a16="http://schemas.microsoft.com/office/drawing/2014/main" id="{48098955-3DCE-4433-B04F-AF8A3A005AA5}"/>
                      </a:ext>
                    </a:extLst>
                  </p:cNvPr>
                  <p:cNvSpPr/>
                  <p:nvPr/>
                </p:nvSpPr>
                <p:spPr>
                  <a:xfrm>
                    <a:off x="9383162" y="6304754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US" sz="1000" dirty="0">
                        <a:solidFill>
                          <a:prstClr val="black"/>
                        </a:solidFill>
                      </a:rPr>
                      <a:t>400+</a:t>
                    </a:r>
                  </a:p>
                </p:txBody>
              </p:sp>
            </p:grpSp>
          </p:grpSp>
          <p:sp>
            <p:nvSpPr>
              <p:cNvPr id="25" name="POWER_USER_DATA_MAP_STORAGE">
                <a:extLst>
                  <a:ext uri="{FF2B5EF4-FFF2-40B4-BE49-F238E27FC236}">
                    <a16:creationId xmlns:a16="http://schemas.microsoft.com/office/drawing/2014/main" id="{1BCF299B-D2B4-4194-AEC1-286E8C4D3C56}"/>
                  </a:ext>
                </a:extLst>
              </p:cNvPr>
              <p:cNvSpPr/>
              <p:nvPr/>
            </p:nvSpPr>
            <p:spPr>
              <a:xfrm>
                <a:off x="618837" y="1676786"/>
                <a:ext cx="0" cy="0"/>
              </a:xfrm>
              <a:prstGeom prst="rect">
                <a:avLst/>
              </a:prstGeom>
              <a:solidFill>
                <a:schemeClr val="accent1"/>
              </a:solidFill>
              <a:ln w="127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 anchorCtr="0">
                <a:noAutofit/>
              </a:bodyPr>
              <a:lstStyle/>
              <a:p>
                <a:pPr algn="ctr"/>
                <a:endParaRPr lang="fr-FR"/>
              </a:p>
            </p:txBody>
          </p: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BD98782-EC5D-473F-BB74-370B31A59A2F}"/>
                </a:ext>
              </a:extLst>
            </p:cNvPr>
            <p:cNvSpPr/>
            <p:nvPr/>
          </p:nvSpPr>
          <p:spPr>
            <a:xfrm>
              <a:off x="3034521" y="1624336"/>
              <a:ext cx="3167610" cy="58522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" name="Arrow10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EB8003D7-DDBB-4CF3-8484-70A4DAF688BE}"/>
                </a:ext>
              </a:extLst>
            </p:cNvPr>
            <p:cNvSpPr>
              <a:spLocks noChangeAspect="1"/>
            </p:cNvSpPr>
            <p:nvPr/>
          </p:nvSpPr>
          <p:spPr bwMode="auto">
            <a:xfrm rot="14616096" flipH="1">
              <a:off x="4654819" y="2565113"/>
              <a:ext cx="1070722" cy="1476516"/>
            </a:xfrm>
            <a:custGeom>
              <a:avLst/>
              <a:gdLst>
                <a:gd name="T0" fmla="*/ 657 w 952"/>
                <a:gd name="T1" fmla="*/ 1166 h 1430"/>
                <a:gd name="T2" fmla="*/ 637 w 952"/>
                <a:gd name="T3" fmla="*/ 1160 h 1430"/>
                <a:gd name="T4" fmla="*/ 614 w 952"/>
                <a:gd name="T5" fmla="*/ 1151 h 1430"/>
                <a:gd name="T6" fmla="*/ 591 w 952"/>
                <a:gd name="T7" fmla="*/ 1142 h 1430"/>
                <a:gd name="T8" fmla="*/ 490 w 952"/>
                <a:gd name="T9" fmla="*/ 1095 h 1430"/>
                <a:gd name="T10" fmla="*/ 267 w 952"/>
                <a:gd name="T11" fmla="*/ 923 h 1430"/>
                <a:gd name="T12" fmla="*/ 171 w 952"/>
                <a:gd name="T13" fmla="*/ 796 h 1430"/>
                <a:gd name="T14" fmla="*/ 106 w 952"/>
                <a:gd name="T15" fmla="*/ 645 h 1430"/>
                <a:gd name="T16" fmla="*/ 90 w 952"/>
                <a:gd name="T17" fmla="*/ 564 h 1430"/>
                <a:gd name="T18" fmla="*/ 89 w 952"/>
                <a:gd name="T19" fmla="*/ 482 h 1430"/>
                <a:gd name="T20" fmla="*/ 100 w 952"/>
                <a:gd name="T21" fmla="*/ 402 h 1430"/>
                <a:gd name="T22" fmla="*/ 111 w 952"/>
                <a:gd name="T23" fmla="*/ 364 h 1430"/>
                <a:gd name="T24" fmla="*/ 113 w 952"/>
                <a:gd name="T25" fmla="*/ 359 h 1430"/>
                <a:gd name="T26" fmla="*/ 113 w 952"/>
                <a:gd name="T27" fmla="*/ 358 h 1430"/>
                <a:gd name="T28" fmla="*/ 113 w 952"/>
                <a:gd name="T29" fmla="*/ 359 h 1430"/>
                <a:gd name="T30" fmla="*/ 113 w 952"/>
                <a:gd name="T31" fmla="*/ 358 h 1430"/>
                <a:gd name="T32" fmla="*/ 114 w 952"/>
                <a:gd name="T33" fmla="*/ 355 h 1430"/>
                <a:gd name="T34" fmla="*/ 118 w 952"/>
                <a:gd name="T35" fmla="*/ 345 h 1430"/>
                <a:gd name="T36" fmla="*/ 126 w 952"/>
                <a:gd name="T37" fmla="*/ 326 h 1430"/>
                <a:gd name="T38" fmla="*/ 143 w 952"/>
                <a:gd name="T39" fmla="*/ 291 h 1430"/>
                <a:gd name="T40" fmla="*/ 162 w 952"/>
                <a:gd name="T41" fmla="*/ 258 h 1430"/>
                <a:gd name="T42" fmla="*/ 184 w 952"/>
                <a:gd name="T43" fmla="*/ 227 h 1430"/>
                <a:gd name="T44" fmla="*/ 208 w 952"/>
                <a:gd name="T45" fmla="*/ 198 h 1430"/>
                <a:gd name="T46" fmla="*/ 314 w 952"/>
                <a:gd name="T47" fmla="*/ 107 h 1430"/>
                <a:gd name="T48" fmla="*/ 420 w 952"/>
                <a:gd name="T49" fmla="*/ 50 h 1430"/>
                <a:gd name="T50" fmla="*/ 467 w 952"/>
                <a:gd name="T51" fmla="*/ 31 h 1430"/>
                <a:gd name="T52" fmla="*/ 509 w 952"/>
                <a:gd name="T53" fmla="*/ 18 h 1430"/>
                <a:gd name="T54" fmla="*/ 542 w 952"/>
                <a:gd name="T55" fmla="*/ 9 h 1430"/>
                <a:gd name="T56" fmla="*/ 568 w 952"/>
                <a:gd name="T57" fmla="*/ 4 h 1430"/>
                <a:gd name="T58" fmla="*/ 589 w 952"/>
                <a:gd name="T59" fmla="*/ 0 h 1430"/>
                <a:gd name="T60" fmla="*/ 567 w 952"/>
                <a:gd name="T61" fmla="*/ 2 h 1430"/>
                <a:gd name="T62" fmla="*/ 541 w 952"/>
                <a:gd name="T63" fmla="*/ 5 h 1430"/>
                <a:gd name="T64" fmla="*/ 507 w 952"/>
                <a:gd name="T65" fmla="*/ 10 h 1430"/>
                <a:gd name="T66" fmla="*/ 464 w 952"/>
                <a:gd name="T67" fmla="*/ 19 h 1430"/>
                <a:gd name="T68" fmla="*/ 414 w 952"/>
                <a:gd name="T69" fmla="*/ 32 h 1430"/>
                <a:gd name="T70" fmla="*/ 298 w 952"/>
                <a:gd name="T71" fmla="*/ 80 h 1430"/>
                <a:gd name="T72" fmla="*/ 175 w 952"/>
                <a:gd name="T73" fmla="*/ 165 h 1430"/>
                <a:gd name="T74" fmla="*/ 69 w 952"/>
                <a:gd name="T75" fmla="*/ 299 h 1430"/>
                <a:gd name="T76" fmla="*/ 59 w 952"/>
                <a:gd name="T77" fmla="*/ 318 h 1430"/>
                <a:gd name="T78" fmla="*/ 54 w 952"/>
                <a:gd name="T79" fmla="*/ 327 h 1430"/>
                <a:gd name="T80" fmla="*/ 53 w 952"/>
                <a:gd name="T81" fmla="*/ 330 h 1430"/>
                <a:gd name="T82" fmla="*/ 52 w 952"/>
                <a:gd name="T83" fmla="*/ 331 h 1430"/>
                <a:gd name="T84" fmla="*/ 51 w 952"/>
                <a:gd name="T85" fmla="*/ 333 h 1430"/>
                <a:gd name="T86" fmla="*/ 49 w 952"/>
                <a:gd name="T87" fmla="*/ 339 h 1430"/>
                <a:gd name="T88" fmla="*/ 31 w 952"/>
                <a:gd name="T89" fmla="*/ 382 h 1430"/>
                <a:gd name="T90" fmla="*/ 8 w 952"/>
                <a:gd name="T91" fmla="*/ 473 h 1430"/>
                <a:gd name="T92" fmla="*/ 0 w 952"/>
                <a:gd name="T93" fmla="*/ 569 h 1430"/>
                <a:gd name="T94" fmla="*/ 8 w 952"/>
                <a:gd name="T95" fmla="*/ 666 h 1430"/>
                <a:gd name="T96" fmla="*/ 65 w 952"/>
                <a:gd name="T97" fmla="*/ 850 h 1430"/>
                <a:gd name="T98" fmla="*/ 161 w 952"/>
                <a:gd name="T99" fmla="*/ 1010 h 1430"/>
                <a:gd name="T100" fmla="*/ 401 w 952"/>
                <a:gd name="T101" fmla="*/ 1238 h 1430"/>
                <a:gd name="T102" fmla="*/ 516 w 952"/>
                <a:gd name="T103" fmla="*/ 1308 h 1430"/>
                <a:gd name="T104" fmla="*/ 541 w 952"/>
                <a:gd name="T105" fmla="*/ 1320 h 1430"/>
                <a:gd name="T106" fmla="*/ 563 w 952"/>
                <a:gd name="T107" fmla="*/ 1332 h 1430"/>
                <a:gd name="T108" fmla="*/ 605 w 952"/>
                <a:gd name="T109" fmla="*/ 1350 h 1430"/>
                <a:gd name="T110" fmla="*/ 582 w 952"/>
                <a:gd name="T111" fmla="*/ 1430 h 1430"/>
                <a:gd name="T112" fmla="*/ 952 w 952"/>
                <a:gd name="T113" fmla="*/ 1337 h 1430"/>
                <a:gd name="T114" fmla="*/ 687 w 952"/>
                <a:gd name="T115" fmla="*/ 1063 h 1430"/>
                <a:gd name="T116" fmla="*/ 657 w 952"/>
                <a:gd name="T117" fmla="*/ 116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2" h="1430">
                  <a:moveTo>
                    <a:pt x="657" y="1166"/>
                  </a:moveTo>
                  <a:cubicBezTo>
                    <a:pt x="651" y="1164"/>
                    <a:pt x="644" y="1162"/>
                    <a:pt x="637" y="1160"/>
                  </a:cubicBezTo>
                  <a:cubicBezTo>
                    <a:pt x="630" y="1157"/>
                    <a:pt x="622" y="1154"/>
                    <a:pt x="614" y="1151"/>
                  </a:cubicBezTo>
                  <a:cubicBezTo>
                    <a:pt x="606" y="1148"/>
                    <a:pt x="598" y="1145"/>
                    <a:pt x="591" y="1142"/>
                  </a:cubicBezTo>
                  <a:cubicBezTo>
                    <a:pt x="562" y="1131"/>
                    <a:pt x="526" y="1114"/>
                    <a:pt x="490" y="1095"/>
                  </a:cubicBezTo>
                  <a:cubicBezTo>
                    <a:pt x="417" y="1056"/>
                    <a:pt x="337" y="999"/>
                    <a:pt x="267" y="923"/>
                  </a:cubicBezTo>
                  <a:cubicBezTo>
                    <a:pt x="231" y="885"/>
                    <a:pt x="199" y="842"/>
                    <a:pt x="171" y="796"/>
                  </a:cubicBezTo>
                  <a:cubicBezTo>
                    <a:pt x="143" y="749"/>
                    <a:pt x="120" y="698"/>
                    <a:pt x="106" y="645"/>
                  </a:cubicBezTo>
                  <a:cubicBezTo>
                    <a:pt x="99" y="618"/>
                    <a:pt x="94" y="591"/>
                    <a:pt x="90" y="564"/>
                  </a:cubicBezTo>
                  <a:cubicBezTo>
                    <a:pt x="88" y="537"/>
                    <a:pt x="87" y="509"/>
                    <a:pt x="89" y="482"/>
                  </a:cubicBezTo>
                  <a:cubicBezTo>
                    <a:pt x="90" y="455"/>
                    <a:pt x="94" y="428"/>
                    <a:pt x="100" y="402"/>
                  </a:cubicBezTo>
                  <a:cubicBezTo>
                    <a:pt x="103" y="389"/>
                    <a:pt x="107" y="376"/>
                    <a:pt x="111" y="364"/>
                  </a:cubicBezTo>
                  <a:lnTo>
                    <a:pt x="113" y="359"/>
                  </a:lnTo>
                  <a:lnTo>
                    <a:pt x="113" y="358"/>
                  </a:lnTo>
                  <a:cubicBezTo>
                    <a:pt x="113" y="358"/>
                    <a:pt x="112" y="360"/>
                    <a:pt x="113" y="359"/>
                  </a:cubicBezTo>
                  <a:lnTo>
                    <a:pt x="113" y="358"/>
                  </a:lnTo>
                  <a:lnTo>
                    <a:pt x="114" y="355"/>
                  </a:lnTo>
                  <a:lnTo>
                    <a:pt x="118" y="345"/>
                  </a:lnTo>
                  <a:lnTo>
                    <a:pt x="126" y="326"/>
                  </a:lnTo>
                  <a:cubicBezTo>
                    <a:pt x="131" y="314"/>
                    <a:pt x="137" y="303"/>
                    <a:pt x="143" y="291"/>
                  </a:cubicBezTo>
                  <a:cubicBezTo>
                    <a:pt x="149" y="280"/>
                    <a:pt x="156" y="269"/>
                    <a:pt x="162" y="258"/>
                  </a:cubicBezTo>
                  <a:cubicBezTo>
                    <a:pt x="170" y="247"/>
                    <a:pt x="177" y="237"/>
                    <a:pt x="184" y="227"/>
                  </a:cubicBezTo>
                  <a:cubicBezTo>
                    <a:pt x="192" y="217"/>
                    <a:pt x="200" y="207"/>
                    <a:pt x="208" y="198"/>
                  </a:cubicBezTo>
                  <a:cubicBezTo>
                    <a:pt x="241" y="161"/>
                    <a:pt x="277" y="131"/>
                    <a:pt x="314" y="107"/>
                  </a:cubicBezTo>
                  <a:cubicBezTo>
                    <a:pt x="351" y="83"/>
                    <a:pt x="387" y="64"/>
                    <a:pt x="420" y="50"/>
                  </a:cubicBezTo>
                  <a:cubicBezTo>
                    <a:pt x="437" y="43"/>
                    <a:pt x="453" y="37"/>
                    <a:pt x="467" y="31"/>
                  </a:cubicBezTo>
                  <a:cubicBezTo>
                    <a:pt x="482" y="27"/>
                    <a:pt x="496" y="22"/>
                    <a:pt x="509" y="18"/>
                  </a:cubicBezTo>
                  <a:cubicBezTo>
                    <a:pt x="521" y="15"/>
                    <a:pt x="532" y="12"/>
                    <a:pt x="542" y="9"/>
                  </a:cubicBezTo>
                  <a:cubicBezTo>
                    <a:pt x="552" y="7"/>
                    <a:pt x="561" y="6"/>
                    <a:pt x="568" y="4"/>
                  </a:cubicBezTo>
                  <a:cubicBezTo>
                    <a:pt x="581" y="1"/>
                    <a:pt x="589" y="0"/>
                    <a:pt x="589" y="0"/>
                  </a:cubicBezTo>
                  <a:cubicBezTo>
                    <a:pt x="589" y="0"/>
                    <a:pt x="581" y="0"/>
                    <a:pt x="567" y="2"/>
                  </a:cubicBezTo>
                  <a:cubicBezTo>
                    <a:pt x="560" y="3"/>
                    <a:pt x="552" y="3"/>
                    <a:pt x="541" y="5"/>
                  </a:cubicBezTo>
                  <a:cubicBezTo>
                    <a:pt x="531" y="6"/>
                    <a:pt x="520" y="8"/>
                    <a:pt x="507" y="10"/>
                  </a:cubicBezTo>
                  <a:cubicBezTo>
                    <a:pt x="494" y="12"/>
                    <a:pt x="479" y="15"/>
                    <a:pt x="464" y="19"/>
                  </a:cubicBezTo>
                  <a:cubicBezTo>
                    <a:pt x="448" y="23"/>
                    <a:pt x="431" y="27"/>
                    <a:pt x="414" y="32"/>
                  </a:cubicBezTo>
                  <a:cubicBezTo>
                    <a:pt x="378" y="43"/>
                    <a:pt x="339" y="59"/>
                    <a:pt x="298" y="80"/>
                  </a:cubicBezTo>
                  <a:cubicBezTo>
                    <a:pt x="257" y="101"/>
                    <a:pt x="215" y="129"/>
                    <a:pt x="175" y="165"/>
                  </a:cubicBezTo>
                  <a:cubicBezTo>
                    <a:pt x="135" y="202"/>
                    <a:pt x="99" y="245"/>
                    <a:pt x="69" y="299"/>
                  </a:cubicBezTo>
                  <a:lnTo>
                    <a:pt x="59" y="318"/>
                  </a:lnTo>
                  <a:lnTo>
                    <a:pt x="54" y="327"/>
                  </a:lnTo>
                  <a:lnTo>
                    <a:pt x="53" y="330"/>
                  </a:lnTo>
                  <a:lnTo>
                    <a:pt x="52" y="331"/>
                  </a:lnTo>
                  <a:lnTo>
                    <a:pt x="51" y="333"/>
                  </a:lnTo>
                  <a:lnTo>
                    <a:pt x="49" y="339"/>
                  </a:lnTo>
                  <a:cubicBezTo>
                    <a:pt x="42" y="353"/>
                    <a:pt x="36" y="367"/>
                    <a:pt x="31" y="382"/>
                  </a:cubicBezTo>
                  <a:cubicBezTo>
                    <a:pt x="21" y="411"/>
                    <a:pt x="13" y="441"/>
                    <a:pt x="8" y="473"/>
                  </a:cubicBezTo>
                  <a:cubicBezTo>
                    <a:pt x="2" y="504"/>
                    <a:pt x="0" y="537"/>
                    <a:pt x="0" y="569"/>
                  </a:cubicBezTo>
                  <a:cubicBezTo>
                    <a:pt x="1" y="601"/>
                    <a:pt x="3" y="634"/>
                    <a:pt x="8" y="666"/>
                  </a:cubicBezTo>
                  <a:cubicBezTo>
                    <a:pt x="19" y="730"/>
                    <a:pt x="39" y="792"/>
                    <a:pt x="65" y="850"/>
                  </a:cubicBezTo>
                  <a:cubicBezTo>
                    <a:pt x="92" y="908"/>
                    <a:pt x="125" y="962"/>
                    <a:pt x="161" y="1010"/>
                  </a:cubicBezTo>
                  <a:cubicBezTo>
                    <a:pt x="234" y="1108"/>
                    <a:pt x="321" y="1183"/>
                    <a:pt x="401" y="1238"/>
                  </a:cubicBezTo>
                  <a:cubicBezTo>
                    <a:pt x="442" y="1266"/>
                    <a:pt x="478" y="1288"/>
                    <a:pt x="516" y="1308"/>
                  </a:cubicBezTo>
                  <a:cubicBezTo>
                    <a:pt x="525" y="1313"/>
                    <a:pt x="533" y="1317"/>
                    <a:pt x="541" y="1320"/>
                  </a:cubicBezTo>
                  <a:cubicBezTo>
                    <a:pt x="548" y="1324"/>
                    <a:pt x="556" y="1328"/>
                    <a:pt x="563" y="1332"/>
                  </a:cubicBezTo>
                  <a:cubicBezTo>
                    <a:pt x="578" y="1338"/>
                    <a:pt x="592" y="1344"/>
                    <a:pt x="605" y="1350"/>
                  </a:cubicBezTo>
                  <a:lnTo>
                    <a:pt x="582" y="1430"/>
                  </a:lnTo>
                  <a:lnTo>
                    <a:pt x="952" y="1337"/>
                  </a:lnTo>
                  <a:lnTo>
                    <a:pt x="687" y="1063"/>
                  </a:lnTo>
                  <a:lnTo>
                    <a:pt x="657" y="1166"/>
                  </a:lnTo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Arrow12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8DD01B68-1C6B-4437-B26E-E4F17A0E34EC}"/>
                </a:ext>
              </a:extLst>
            </p:cNvPr>
            <p:cNvSpPr>
              <a:spLocks noChangeAspect="1"/>
            </p:cNvSpPr>
            <p:nvPr/>
          </p:nvSpPr>
          <p:spPr bwMode="auto">
            <a:xfrm rot="6262158">
              <a:off x="3050354" y="2465992"/>
              <a:ext cx="1137522" cy="1904770"/>
            </a:xfrm>
            <a:custGeom>
              <a:avLst/>
              <a:gdLst>
                <a:gd name="T0" fmla="*/ 657 w 952"/>
                <a:gd name="T1" fmla="*/ 1166 h 1430"/>
                <a:gd name="T2" fmla="*/ 637 w 952"/>
                <a:gd name="T3" fmla="*/ 1160 h 1430"/>
                <a:gd name="T4" fmla="*/ 614 w 952"/>
                <a:gd name="T5" fmla="*/ 1151 h 1430"/>
                <a:gd name="T6" fmla="*/ 591 w 952"/>
                <a:gd name="T7" fmla="*/ 1142 h 1430"/>
                <a:gd name="T8" fmla="*/ 490 w 952"/>
                <a:gd name="T9" fmla="*/ 1095 h 1430"/>
                <a:gd name="T10" fmla="*/ 267 w 952"/>
                <a:gd name="T11" fmla="*/ 923 h 1430"/>
                <a:gd name="T12" fmla="*/ 171 w 952"/>
                <a:gd name="T13" fmla="*/ 796 h 1430"/>
                <a:gd name="T14" fmla="*/ 106 w 952"/>
                <a:gd name="T15" fmla="*/ 645 h 1430"/>
                <a:gd name="T16" fmla="*/ 90 w 952"/>
                <a:gd name="T17" fmla="*/ 564 h 1430"/>
                <a:gd name="T18" fmla="*/ 89 w 952"/>
                <a:gd name="T19" fmla="*/ 482 h 1430"/>
                <a:gd name="T20" fmla="*/ 100 w 952"/>
                <a:gd name="T21" fmla="*/ 402 h 1430"/>
                <a:gd name="T22" fmla="*/ 111 w 952"/>
                <a:gd name="T23" fmla="*/ 364 h 1430"/>
                <a:gd name="T24" fmla="*/ 113 w 952"/>
                <a:gd name="T25" fmla="*/ 359 h 1430"/>
                <a:gd name="T26" fmla="*/ 113 w 952"/>
                <a:gd name="T27" fmla="*/ 358 h 1430"/>
                <a:gd name="T28" fmla="*/ 113 w 952"/>
                <a:gd name="T29" fmla="*/ 359 h 1430"/>
                <a:gd name="T30" fmla="*/ 113 w 952"/>
                <a:gd name="T31" fmla="*/ 358 h 1430"/>
                <a:gd name="T32" fmla="*/ 114 w 952"/>
                <a:gd name="T33" fmla="*/ 355 h 1430"/>
                <a:gd name="T34" fmla="*/ 118 w 952"/>
                <a:gd name="T35" fmla="*/ 345 h 1430"/>
                <a:gd name="T36" fmla="*/ 126 w 952"/>
                <a:gd name="T37" fmla="*/ 326 h 1430"/>
                <a:gd name="T38" fmla="*/ 143 w 952"/>
                <a:gd name="T39" fmla="*/ 291 h 1430"/>
                <a:gd name="T40" fmla="*/ 162 w 952"/>
                <a:gd name="T41" fmla="*/ 258 h 1430"/>
                <a:gd name="T42" fmla="*/ 184 w 952"/>
                <a:gd name="T43" fmla="*/ 227 h 1430"/>
                <a:gd name="T44" fmla="*/ 208 w 952"/>
                <a:gd name="T45" fmla="*/ 198 h 1430"/>
                <a:gd name="T46" fmla="*/ 314 w 952"/>
                <a:gd name="T47" fmla="*/ 107 h 1430"/>
                <a:gd name="T48" fmla="*/ 420 w 952"/>
                <a:gd name="T49" fmla="*/ 50 h 1430"/>
                <a:gd name="T50" fmla="*/ 467 w 952"/>
                <a:gd name="T51" fmla="*/ 31 h 1430"/>
                <a:gd name="T52" fmla="*/ 509 w 952"/>
                <a:gd name="T53" fmla="*/ 18 h 1430"/>
                <a:gd name="T54" fmla="*/ 542 w 952"/>
                <a:gd name="T55" fmla="*/ 9 h 1430"/>
                <a:gd name="T56" fmla="*/ 568 w 952"/>
                <a:gd name="T57" fmla="*/ 4 h 1430"/>
                <a:gd name="T58" fmla="*/ 589 w 952"/>
                <a:gd name="T59" fmla="*/ 0 h 1430"/>
                <a:gd name="T60" fmla="*/ 567 w 952"/>
                <a:gd name="T61" fmla="*/ 2 h 1430"/>
                <a:gd name="T62" fmla="*/ 541 w 952"/>
                <a:gd name="T63" fmla="*/ 5 h 1430"/>
                <a:gd name="T64" fmla="*/ 507 w 952"/>
                <a:gd name="T65" fmla="*/ 10 h 1430"/>
                <a:gd name="T66" fmla="*/ 464 w 952"/>
                <a:gd name="T67" fmla="*/ 19 h 1430"/>
                <a:gd name="T68" fmla="*/ 414 w 952"/>
                <a:gd name="T69" fmla="*/ 32 h 1430"/>
                <a:gd name="T70" fmla="*/ 298 w 952"/>
                <a:gd name="T71" fmla="*/ 80 h 1430"/>
                <a:gd name="T72" fmla="*/ 175 w 952"/>
                <a:gd name="T73" fmla="*/ 165 h 1430"/>
                <a:gd name="T74" fmla="*/ 69 w 952"/>
                <a:gd name="T75" fmla="*/ 299 h 1430"/>
                <a:gd name="T76" fmla="*/ 59 w 952"/>
                <a:gd name="T77" fmla="*/ 318 h 1430"/>
                <a:gd name="T78" fmla="*/ 54 w 952"/>
                <a:gd name="T79" fmla="*/ 327 h 1430"/>
                <a:gd name="T80" fmla="*/ 53 w 952"/>
                <a:gd name="T81" fmla="*/ 330 h 1430"/>
                <a:gd name="T82" fmla="*/ 52 w 952"/>
                <a:gd name="T83" fmla="*/ 331 h 1430"/>
                <a:gd name="T84" fmla="*/ 51 w 952"/>
                <a:gd name="T85" fmla="*/ 333 h 1430"/>
                <a:gd name="T86" fmla="*/ 49 w 952"/>
                <a:gd name="T87" fmla="*/ 339 h 1430"/>
                <a:gd name="T88" fmla="*/ 31 w 952"/>
                <a:gd name="T89" fmla="*/ 382 h 1430"/>
                <a:gd name="T90" fmla="*/ 8 w 952"/>
                <a:gd name="T91" fmla="*/ 473 h 1430"/>
                <a:gd name="T92" fmla="*/ 0 w 952"/>
                <a:gd name="T93" fmla="*/ 569 h 1430"/>
                <a:gd name="T94" fmla="*/ 8 w 952"/>
                <a:gd name="T95" fmla="*/ 666 h 1430"/>
                <a:gd name="T96" fmla="*/ 65 w 952"/>
                <a:gd name="T97" fmla="*/ 850 h 1430"/>
                <a:gd name="T98" fmla="*/ 161 w 952"/>
                <a:gd name="T99" fmla="*/ 1010 h 1430"/>
                <a:gd name="T100" fmla="*/ 401 w 952"/>
                <a:gd name="T101" fmla="*/ 1238 h 1430"/>
                <a:gd name="T102" fmla="*/ 516 w 952"/>
                <a:gd name="T103" fmla="*/ 1308 h 1430"/>
                <a:gd name="T104" fmla="*/ 541 w 952"/>
                <a:gd name="T105" fmla="*/ 1320 h 1430"/>
                <a:gd name="T106" fmla="*/ 563 w 952"/>
                <a:gd name="T107" fmla="*/ 1332 h 1430"/>
                <a:gd name="T108" fmla="*/ 605 w 952"/>
                <a:gd name="T109" fmla="*/ 1350 h 1430"/>
                <a:gd name="T110" fmla="*/ 582 w 952"/>
                <a:gd name="T111" fmla="*/ 1430 h 1430"/>
                <a:gd name="T112" fmla="*/ 952 w 952"/>
                <a:gd name="T113" fmla="*/ 1337 h 1430"/>
                <a:gd name="T114" fmla="*/ 687 w 952"/>
                <a:gd name="T115" fmla="*/ 1063 h 1430"/>
                <a:gd name="T116" fmla="*/ 657 w 952"/>
                <a:gd name="T117" fmla="*/ 116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2" h="1430">
                  <a:moveTo>
                    <a:pt x="657" y="1166"/>
                  </a:moveTo>
                  <a:cubicBezTo>
                    <a:pt x="651" y="1164"/>
                    <a:pt x="644" y="1162"/>
                    <a:pt x="637" y="1160"/>
                  </a:cubicBezTo>
                  <a:cubicBezTo>
                    <a:pt x="630" y="1157"/>
                    <a:pt x="622" y="1154"/>
                    <a:pt x="614" y="1151"/>
                  </a:cubicBezTo>
                  <a:cubicBezTo>
                    <a:pt x="606" y="1148"/>
                    <a:pt x="598" y="1145"/>
                    <a:pt x="591" y="1142"/>
                  </a:cubicBezTo>
                  <a:cubicBezTo>
                    <a:pt x="562" y="1131"/>
                    <a:pt x="526" y="1114"/>
                    <a:pt x="490" y="1095"/>
                  </a:cubicBezTo>
                  <a:cubicBezTo>
                    <a:pt x="417" y="1056"/>
                    <a:pt x="337" y="999"/>
                    <a:pt x="267" y="923"/>
                  </a:cubicBezTo>
                  <a:cubicBezTo>
                    <a:pt x="231" y="885"/>
                    <a:pt x="199" y="842"/>
                    <a:pt x="171" y="796"/>
                  </a:cubicBezTo>
                  <a:cubicBezTo>
                    <a:pt x="143" y="749"/>
                    <a:pt x="120" y="698"/>
                    <a:pt x="106" y="645"/>
                  </a:cubicBezTo>
                  <a:cubicBezTo>
                    <a:pt x="99" y="618"/>
                    <a:pt x="94" y="591"/>
                    <a:pt x="90" y="564"/>
                  </a:cubicBezTo>
                  <a:cubicBezTo>
                    <a:pt x="88" y="537"/>
                    <a:pt x="87" y="509"/>
                    <a:pt x="89" y="482"/>
                  </a:cubicBezTo>
                  <a:cubicBezTo>
                    <a:pt x="90" y="455"/>
                    <a:pt x="94" y="428"/>
                    <a:pt x="100" y="402"/>
                  </a:cubicBezTo>
                  <a:cubicBezTo>
                    <a:pt x="103" y="389"/>
                    <a:pt x="107" y="376"/>
                    <a:pt x="111" y="364"/>
                  </a:cubicBezTo>
                  <a:lnTo>
                    <a:pt x="113" y="359"/>
                  </a:lnTo>
                  <a:lnTo>
                    <a:pt x="113" y="358"/>
                  </a:lnTo>
                  <a:cubicBezTo>
                    <a:pt x="113" y="358"/>
                    <a:pt x="112" y="360"/>
                    <a:pt x="113" y="359"/>
                  </a:cubicBezTo>
                  <a:lnTo>
                    <a:pt x="113" y="358"/>
                  </a:lnTo>
                  <a:lnTo>
                    <a:pt x="114" y="355"/>
                  </a:lnTo>
                  <a:lnTo>
                    <a:pt x="118" y="345"/>
                  </a:lnTo>
                  <a:lnTo>
                    <a:pt x="126" y="326"/>
                  </a:lnTo>
                  <a:cubicBezTo>
                    <a:pt x="131" y="314"/>
                    <a:pt x="137" y="303"/>
                    <a:pt x="143" y="291"/>
                  </a:cubicBezTo>
                  <a:cubicBezTo>
                    <a:pt x="149" y="280"/>
                    <a:pt x="156" y="269"/>
                    <a:pt x="162" y="258"/>
                  </a:cubicBezTo>
                  <a:cubicBezTo>
                    <a:pt x="170" y="247"/>
                    <a:pt x="177" y="237"/>
                    <a:pt x="184" y="227"/>
                  </a:cubicBezTo>
                  <a:cubicBezTo>
                    <a:pt x="192" y="217"/>
                    <a:pt x="200" y="207"/>
                    <a:pt x="208" y="198"/>
                  </a:cubicBezTo>
                  <a:cubicBezTo>
                    <a:pt x="241" y="161"/>
                    <a:pt x="277" y="131"/>
                    <a:pt x="314" y="107"/>
                  </a:cubicBezTo>
                  <a:cubicBezTo>
                    <a:pt x="351" y="83"/>
                    <a:pt x="387" y="64"/>
                    <a:pt x="420" y="50"/>
                  </a:cubicBezTo>
                  <a:cubicBezTo>
                    <a:pt x="437" y="43"/>
                    <a:pt x="453" y="37"/>
                    <a:pt x="467" y="31"/>
                  </a:cubicBezTo>
                  <a:cubicBezTo>
                    <a:pt x="482" y="27"/>
                    <a:pt x="496" y="22"/>
                    <a:pt x="509" y="18"/>
                  </a:cubicBezTo>
                  <a:cubicBezTo>
                    <a:pt x="521" y="15"/>
                    <a:pt x="532" y="12"/>
                    <a:pt x="542" y="9"/>
                  </a:cubicBezTo>
                  <a:cubicBezTo>
                    <a:pt x="552" y="7"/>
                    <a:pt x="561" y="6"/>
                    <a:pt x="568" y="4"/>
                  </a:cubicBezTo>
                  <a:cubicBezTo>
                    <a:pt x="581" y="1"/>
                    <a:pt x="589" y="0"/>
                    <a:pt x="589" y="0"/>
                  </a:cubicBezTo>
                  <a:cubicBezTo>
                    <a:pt x="589" y="0"/>
                    <a:pt x="581" y="0"/>
                    <a:pt x="567" y="2"/>
                  </a:cubicBezTo>
                  <a:cubicBezTo>
                    <a:pt x="560" y="3"/>
                    <a:pt x="552" y="3"/>
                    <a:pt x="541" y="5"/>
                  </a:cubicBezTo>
                  <a:cubicBezTo>
                    <a:pt x="531" y="6"/>
                    <a:pt x="520" y="8"/>
                    <a:pt x="507" y="10"/>
                  </a:cubicBezTo>
                  <a:cubicBezTo>
                    <a:pt x="494" y="12"/>
                    <a:pt x="479" y="15"/>
                    <a:pt x="464" y="19"/>
                  </a:cubicBezTo>
                  <a:cubicBezTo>
                    <a:pt x="448" y="23"/>
                    <a:pt x="431" y="27"/>
                    <a:pt x="414" y="32"/>
                  </a:cubicBezTo>
                  <a:cubicBezTo>
                    <a:pt x="378" y="43"/>
                    <a:pt x="339" y="59"/>
                    <a:pt x="298" y="80"/>
                  </a:cubicBezTo>
                  <a:cubicBezTo>
                    <a:pt x="257" y="101"/>
                    <a:pt x="215" y="129"/>
                    <a:pt x="175" y="165"/>
                  </a:cubicBezTo>
                  <a:cubicBezTo>
                    <a:pt x="135" y="202"/>
                    <a:pt x="99" y="245"/>
                    <a:pt x="69" y="299"/>
                  </a:cubicBezTo>
                  <a:lnTo>
                    <a:pt x="59" y="318"/>
                  </a:lnTo>
                  <a:lnTo>
                    <a:pt x="54" y="327"/>
                  </a:lnTo>
                  <a:lnTo>
                    <a:pt x="53" y="330"/>
                  </a:lnTo>
                  <a:lnTo>
                    <a:pt x="52" y="331"/>
                  </a:lnTo>
                  <a:lnTo>
                    <a:pt x="51" y="333"/>
                  </a:lnTo>
                  <a:lnTo>
                    <a:pt x="49" y="339"/>
                  </a:lnTo>
                  <a:cubicBezTo>
                    <a:pt x="42" y="353"/>
                    <a:pt x="36" y="367"/>
                    <a:pt x="31" y="382"/>
                  </a:cubicBezTo>
                  <a:cubicBezTo>
                    <a:pt x="21" y="411"/>
                    <a:pt x="13" y="441"/>
                    <a:pt x="8" y="473"/>
                  </a:cubicBezTo>
                  <a:cubicBezTo>
                    <a:pt x="2" y="504"/>
                    <a:pt x="0" y="537"/>
                    <a:pt x="0" y="569"/>
                  </a:cubicBezTo>
                  <a:cubicBezTo>
                    <a:pt x="1" y="601"/>
                    <a:pt x="3" y="634"/>
                    <a:pt x="8" y="666"/>
                  </a:cubicBezTo>
                  <a:cubicBezTo>
                    <a:pt x="19" y="730"/>
                    <a:pt x="39" y="792"/>
                    <a:pt x="65" y="850"/>
                  </a:cubicBezTo>
                  <a:cubicBezTo>
                    <a:pt x="92" y="908"/>
                    <a:pt x="125" y="962"/>
                    <a:pt x="161" y="1010"/>
                  </a:cubicBezTo>
                  <a:cubicBezTo>
                    <a:pt x="234" y="1108"/>
                    <a:pt x="321" y="1183"/>
                    <a:pt x="401" y="1238"/>
                  </a:cubicBezTo>
                  <a:cubicBezTo>
                    <a:pt x="442" y="1266"/>
                    <a:pt x="478" y="1288"/>
                    <a:pt x="516" y="1308"/>
                  </a:cubicBezTo>
                  <a:cubicBezTo>
                    <a:pt x="525" y="1313"/>
                    <a:pt x="533" y="1317"/>
                    <a:pt x="541" y="1320"/>
                  </a:cubicBezTo>
                  <a:cubicBezTo>
                    <a:pt x="548" y="1324"/>
                    <a:pt x="556" y="1328"/>
                    <a:pt x="563" y="1332"/>
                  </a:cubicBezTo>
                  <a:cubicBezTo>
                    <a:pt x="578" y="1338"/>
                    <a:pt x="592" y="1344"/>
                    <a:pt x="605" y="1350"/>
                  </a:cubicBezTo>
                  <a:lnTo>
                    <a:pt x="582" y="1430"/>
                  </a:lnTo>
                  <a:lnTo>
                    <a:pt x="952" y="1337"/>
                  </a:lnTo>
                  <a:lnTo>
                    <a:pt x="687" y="1063"/>
                  </a:lnTo>
                  <a:lnTo>
                    <a:pt x="657" y="1166"/>
                  </a:lnTo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5F72467B-B017-4A45-A150-69D76E2F84F6}"/>
                </a:ext>
              </a:extLst>
            </p:cNvPr>
            <p:cNvSpPr txBox="1"/>
            <p:nvPr/>
          </p:nvSpPr>
          <p:spPr>
            <a:xfrm>
              <a:off x="2859908" y="2505290"/>
              <a:ext cx="133495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 dirty="0">
                  <a:solidFill>
                    <a:schemeClr val="tx2"/>
                  </a:solidFill>
                </a:rPr>
                <a:t>66% vers USA</a:t>
              </a:r>
            </a:p>
          </p:txBody>
        </p: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6F9D5C87-CABA-4E7F-8AE1-3BB942037AF7}"/>
                </a:ext>
              </a:extLst>
            </p:cNvPr>
            <p:cNvSpPr txBox="1"/>
            <p:nvPr/>
          </p:nvSpPr>
          <p:spPr>
            <a:xfrm>
              <a:off x="3378163" y="1699361"/>
              <a:ext cx="2763380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27 267 tonnes de matières réversibles exportées par UE + UK</a:t>
              </a:r>
            </a:p>
          </p:txBody>
        </p:sp>
        <p:sp>
          <p:nvSpPr>
            <p:cNvPr id="15" name="Arrow11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52116FA8-7EBE-42FC-BAFD-456839721C16}"/>
                </a:ext>
              </a:extLst>
            </p:cNvPr>
            <p:cNvSpPr>
              <a:spLocks noChangeAspect="1"/>
            </p:cNvSpPr>
            <p:nvPr/>
          </p:nvSpPr>
          <p:spPr bwMode="auto">
            <a:xfrm rot="5969214" flipH="1" flipV="1">
              <a:off x="3249213" y="3143628"/>
              <a:ext cx="770842" cy="1824445"/>
            </a:xfrm>
            <a:custGeom>
              <a:avLst/>
              <a:gdLst>
                <a:gd name="T0" fmla="*/ 657 w 952"/>
                <a:gd name="T1" fmla="*/ 1166 h 1430"/>
                <a:gd name="T2" fmla="*/ 637 w 952"/>
                <a:gd name="T3" fmla="*/ 1160 h 1430"/>
                <a:gd name="T4" fmla="*/ 614 w 952"/>
                <a:gd name="T5" fmla="*/ 1151 h 1430"/>
                <a:gd name="T6" fmla="*/ 591 w 952"/>
                <a:gd name="T7" fmla="*/ 1142 h 1430"/>
                <a:gd name="T8" fmla="*/ 490 w 952"/>
                <a:gd name="T9" fmla="*/ 1095 h 1430"/>
                <a:gd name="T10" fmla="*/ 267 w 952"/>
                <a:gd name="T11" fmla="*/ 923 h 1430"/>
                <a:gd name="T12" fmla="*/ 171 w 952"/>
                <a:gd name="T13" fmla="*/ 796 h 1430"/>
                <a:gd name="T14" fmla="*/ 106 w 952"/>
                <a:gd name="T15" fmla="*/ 645 h 1430"/>
                <a:gd name="T16" fmla="*/ 90 w 952"/>
                <a:gd name="T17" fmla="*/ 564 h 1430"/>
                <a:gd name="T18" fmla="*/ 89 w 952"/>
                <a:gd name="T19" fmla="*/ 482 h 1430"/>
                <a:gd name="T20" fmla="*/ 100 w 952"/>
                <a:gd name="T21" fmla="*/ 402 h 1430"/>
                <a:gd name="T22" fmla="*/ 111 w 952"/>
                <a:gd name="T23" fmla="*/ 364 h 1430"/>
                <a:gd name="T24" fmla="*/ 113 w 952"/>
                <a:gd name="T25" fmla="*/ 359 h 1430"/>
                <a:gd name="T26" fmla="*/ 113 w 952"/>
                <a:gd name="T27" fmla="*/ 358 h 1430"/>
                <a:gd name="T28" fmla="*/ 113 w 952"/>
                <a:gd name="T29" fmla="*/ 359 h 1430"/>
                <a:gd name="T30" fmla="*/ 113 w 952"/>
                <a:gd name="T31" fmla="*/ 358 h 1430"/>
                <a:gd name="T32" fmla="*/ 114 w 952"/>
                <a:gd name="T33" fmla="*/ 355 h 1430"/>
                <a:gd name="T34" fmla="*/ 118 w 952"/>
                <a:gd name="T35" fmla="*/ 345 h 1430"/>
                <a:gd name="T36" fmla="*/ 126 w 952"/>
                <a:gd name="T37" fmla="*/ 326 h 1430"/>
                <a:gd name="T38" fmla="*/ 143 w 952"/>
                <a:gd name="T39" fmla="*/ 291 h 1430"/>
                <a:gd name="T40" fmla="*/ 162 w 952"/>
                <a:gd name="T41" fmla="*/ 258 h 1430"/>
                <a:gd name="T42" fmla="*/ 184 w 952"/>
                <a:gd name="T43" fmla="*/ 227 h 1430"/>
                <a:gd name="T44" fmla="*/ 208 w 952"/>
                <a:gd name="T45" fmla="*/ 198 h 1430"/>
                <a:gd name="T46" fmla="*/ 314 w 952"/>
                <a:gd name="T47" fmla="*/ 107 h 1430"/>
                <a:gd name="T48" fmla="*/ 420 w 952"/>
                <a:gd name="T49" fmla="*/ 50 h 1430"/>
                <a:gd name="T50" fmla="*/ 467 w 952"/>
                <a:gd name="T51" fmla="*/ 31 h 1430"/>
                <a:gd name="T52" fmla="*/ 509 w 952"/>
                <a:gd name="T53" fmla="*/ 18 h 1430"/>
                <a:gd name="T54" fmla="*/ 542 w 952"/>
                <a:gd name="T55" fmla="*/ 9 h 1430"/>
                <a:gd name="T56" fmla="*/ 568 w 952"/>
                <a:gd name="T57" fmla="*/ 4 h 1430"/>
                <a:gd name="T58" fmla="*/ 589 w 952"/>
                <a:gd name="T59" fmla="*/ 0 h 1430"/>
                <a:gd name="T60" fmla="*/ 567 w 952"/>
                <a:gd name="T61" fmla="*/ 2 h 1430"/>
                <a:gd name="T62" fmla="*/ 541 w 952"/>
                <a:gd name="T63" fmla="*/ 5 h 1430"/>
                <a:gd name="T64" fmla="*/ 507 w 952"/>
                <a:gd name="T65" fmla="*/ 10 h 1430"/>
                <a:gd name="T66" fmla="*/ 464 w 952"/>
                <a:gd name="T67" fmla="*/ 19 h 1430"/>
                <a:gd name="T68" fmla="*/ 414 w 952"/>
                <a:gd name="T69" fmla="*/ 32 h 1430"/>
                <a:gd name="T70" fmla="*/ 298 w 952"/>
                <a:gd name="T71" fmla="*/ 80 h 1430"/>
                <a:gd name="T72" fmla="*/ 175 w 952"/>
                <a:gd name="T73" fmla="*/ 165 h 1430"/>
                <a:gd name="T74" fmla="*/ 69 w 952"/>
                <a:gd name="T75" fmla="*/ 299 h 1430"/>
                <a:gd name="T76" fmla="*/ 59 w 952"/>
                <a:gd name="T77" fmla="*/ 318 h 1430"/>
                <a:gd name="T78" fmla="*/ 54 w 952"/>
                <a:gd name="T79" fmla="*/ 327 h 1430"/>
                <a:gd name="T80" fmla="*/ 53 w 952"/>
                <a:gd name="T81" fmla="*/ 330 h 1430"/>
                <a:gd name="T82" fmla="*/ 52 w 952"/>
                <a:gd name="T83" fmla="*/ 331 h 1430"/>
                <a:gd name="T84" fmla="*/ 51 w 952"/>
                <a:gd name="T85" fmla="*/ 333 h 1430"/>
                <a:gd name="T86" fmla="*/ 49 w 952"/>
                <a:gd name="T87" fmla="*/ 339 h 1430"/>
                <a:gd name="T88" fmla="*/ 31 w 952"/>
                <a:gd name="T89" fmla="*/ 382 h 1430"/>
                <a:gd name="T90" fmla="*/ 8 w 952"/>
                <a:gd name="T91" fmla="*/ 473 h 1430"/>
                <a:gd name="T92" fmla="*/ 0 w 952"/>
                <a:gd name="T93" fmla="*/ 569 h 1430"/>
                <a:gd name="T94" fmla="*/ 8 w 952"/>
                <a:gd name="T95" fmla="*/ 666 h 1430"/>
                <a:gd name="T96" fmla="*/ 65 w 952"/>
                <a:gd name="T97" fmla="*/ 850 h 1430"/>
                <a:gd name="T98" fmla="*/ 161 w 952"/>
                <a:gd name="T99" fmla="*/ 1010 h 1430"/>
                <a:gd name="T100" fmla="*/ 401 w 952"/>
                <a:gd name="T101" fmla="*/ 1238 h 1430"/>
                <a:gd name="T102" fmla="*/ 516 w 952"/>
                <a:gd name="T103" fmla="*/ 1308 h 1430"/>
                <a:gd name="T104" fmla="*/ 541 w 952"/>
                <a:gd name="T105" fmla="*/ 1320 h 1430"/>
                <a:gd name="T106" fmla="*/ 563 w 952"/>
                <a:gd name="T107" fmla="*/ 1332 h 1430"/>
                <a:gd name="T108" fmla="*/ 605 w 952"/>
                <a:gd name="T109" fmla="*/ 1350 h 1430"/>
                <a:gd name="T110" fmla="*/ 582 w 952"/>
                <a:gd name="T111" fmla="*/ 1430 h 1430"/>
                <a:gd name="T112" fmla="*/ 952 w 952"/>
                <a:gd name="T113" fmla="*/ 1337 h 1430"/>
                <a:gd name="T114" fmla="*/ 687 w 952"/>
                <a:gd name="T115" fmla="*/ 1063 h 1430"/>
                <a:gd name="T116" fmla="*/ 657 w 952"/>
                <a:gd name="T117" fmla="*/ 116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2" h="1430">
                  <a:moveTo>
                    <a:pt x="657" y="1166"/>
                  </a:moveTo>
                  <a:cubicBezTo>
                    <a:pt x="651" y="1164"/>
                    <a:pt x="644" y="1162"/>
                    <a:pt x="637" y="1160"/>
                  </a:cubicBezTo>
                  <a:cubicBezTo>
                    <a:pt x="630" y="1157"/>
                    <a:pt x="622" y="1154"/>
                    <a:pt x="614" y="1151"/>
                  </a:cubicBezTo>
                  <a:cubicBezTo>
                    <a:pt x="606" y="1148"/>
                    <a:pt x="598" y="1145"/>
                    <a:pt x="591" y="1142"/>
                  </a:cubicBezTo>
                  <a:cubicBezTo>
                    <a:pt x="562" y="1131"/>
                    <a:pt x="526" y="1114"/>
                    <a:pt x="490" y="1095"/>
                  </a:cubicBezTo>
                  <a:cubicBezTo>
                    <a:pt x="417" y="1056"/>
                    <a:pt x="337" y="999"/>
                    <a:pt x="267" y="923"/>
                  </a:cubicBezTo>
                  <a:cubicBezTo>
                    <a:pt x="231" y="885"/>
                    <a:pt x="199" y="842"/>
                    <a:pt x="171" y="796"/>
                  </a:cubicBezTo>
                  <a:cubicBezTo>
                    <a:pt x="143" y="749"/>
                    <a:pt x="120" y="698"/>
                    <a:pt x="106" y="645"/>
                  </a:cubicBezTo>
                  <a:cubicBezTo>
                    <a:pt x="99" y="618"/>
                    <a:pt x="94" y="591"/>
                    <a:pt x="90" y="564"/>
                  </a:cubicBezTo>
                  <a:cubicBezTo>
                    <a:pt x="88" y="537"/>
                    <a:pt x="87" y="509"/>
                    <a:pt x="89" y="482"/>
                  </a:cubicBezTo>
                  <a:cubicBezTo>
                    <a:pt x="90" y="455"/>
                    <a:pt x="94" y="428"/>
                    <a:pt x="100" y="402"/>
                  </a:cubicBezTo>
                  <a:cubicBezTo>
                    <a:pt x="103" y="389"/>
                    <a:pt x="107" y="376"/>
                    <a:pt x="111" y="364"/>
                  </a:cubicBezTo>
                  <a:lnTo>
                    <a:pt x="113" y="359"/>
                  </a:lnTo>
                  <a:lnTo>
                    <a:pt x="113" y="358"/>
                  </a:lnTo>
                  <a:cubicBezTo>
                    <a:pt x="113" y="358"/>
                    <a:pt x="112" y="360"/>
                    <a:pt x="113" y="359"/>
                  </a:cubicBezTo>
                  <a:lnTo>
                    <a:pt x="113" y="358"/>
                  </a:lnTo>
                  <a:lnTo>
                    <a:pt x="114" y="355"/>
                  </a:lnTo>
                  <a:lnTo>
                    <a:pt x="118" y="345"/>
                  </a:lnTo>
                  <a:lnTo>
                    <a:pt x="126" y="326"/>
                  </a:lnTo>
                  <a:cubicBezTo>
                    <a:pt x="131" y="314"/>
                    <a:pt x="137" y="303"/>
                    <a:pt x="143" y="291"/>
                  </a:cubicBezTo>
                  <a:cubicBezTo>
                    <a:pt x="149" y="280"/>
                    <a:pt x="156" y="269"/>
                    <a:pt x="162" y="258"/>
                  </a:cubicBezTo>
                  <a:cubicBezTo>
                    <a:pt x="170" y="247"/>
                    <a:pt x="177" y="237"/>
                    <a:pt x="184" y="227"/>
                  </a:cubicBezTo>
                  <a:cubicBezTo>
                    <a:pt x="192" y="217"/>
                    <a:pt x="200" y="207"/>
                    <a:pt x="208" y="198"/>
                  </a:cubicBezTo>
                  <a:cubicBezTo>
                    <a:pt x="241" y="161"/>
                    <a:pt x="277" y="131"/>
                    <a:pt x="314" y="107"/>
                  </a:cubicBezTo>
                  <a:cubicBezTo>
                    <a:pt x="351" y="83"/>
                    <a:pt x="387" y="64"/>
                    <a:pt x="420" y="50"/>
                  </a:cubicBezTo>
                  <a:cubicBezTo>
                    <a:pt x="437" y="43"/>
                    <a:pt x="453" y="37"/>
                    <a:pt x="467" y="31"/>
                  </a:cubicBezTo>
                  <a:cubicBezTo>
                    <a:pt x="482" y="27"/>
                    <a:pt x="496" y="22"/>
                    <a:pt x="509" y="18"/>
                  </a:cubicBezTo>
                  <a:cubicBezTo>
                    <a:pt x="521" y="15"/>
                    <a:pt x="532" y="12"/>
                    <a:pt x="542" y="9"/>
                  </a:cubicBezTo>
                  <a:cubicBezTo>
                    <a:pt x="552" y="7"/>
                    <a:pt x="561" y="6"/>
                    <a:pt x="568" y="4"/>
                  </a:cubicBezTo>
                  <a:cubicBezTo>
                    <a:pt x="581" y="1"/>
                    <a:pt x="589" y="0"/>
                    <a:pt x="589" y="0"/>
                  </a:cubicBezTo>
                  <a:cubicBezTo>
                    <a:pt x="589" y="0"/>
                    <a:pt x="581" y="0"/>
                    <a:pt x="567" y="2"/>
                  </a:cubicBezTo>
                  <a:cubicBezTo>
                    <a:pt x="560" y="3"/>
                    <a:pt x="552" y="3"/>
                    <a:pt x="541" y="5"/>
                  </a:cubicBezTo>
                  <a:cubicBezTo>
                    <a:pt x="531" y="6"/>
                    <a:pt x="520" y="8"/>
                    <a:pt x="507" y="10"/>
                  </a:cubicBezTo>
                  <a:cubicBezTo>
                    <a:pt x="494" y="12"/>
                    <a:pt x="479" y="15"/>
                    <a:pt x="464" y="19"/>
                  </a:cubicBezTo>
                  <a:cubicBezTo>
                    <a:pt x="448" y="23"/>
                    <a:pt x="431" y="27"/>
                    <a:pt x="414" y="32"/>
                  </a:cubicBezTo>
                  <a:cubicBezTo>
                    <a:pt x="378" y="43"/>
                    <a:pt x="339" y="59"/>
                    <a:pt x="298" y="80"/>
                  </a:cubicBezTo>
                  <a:cubicBezTo>
                    <a:pt x="257" y="101"/>
                    <a:pt x="215" y="129"/>
                    <a:pt x="175" y="165"/>
                  </a:cubicBezTo>
                  <a:cubicBezTo>
                    <a:pt x="135" y="202"/>
                    <a:pt x="99" y="245"/>
                    <a:pt x="69" y="299"/>
                  </a:cubicBezTo>
                  <a:lnTo>
                    <a:pt x="59" y="318"/>
                  </a:lnTo>
                  <a:lnTo>
                    <a:pt x="54" y="327"/>
                  </a:lnTo>
                  <a:lnTo>
                    <a:pt x="53" y="330"/>
                  </a:lnTo>
                  <a:lnTo>
                    <a:pt x="52" y="331"/>
                  </a:lnTo>
                  <a:lnTo>
                    <a:pt x="51" y="333"/>
                  </a:lnTo>
                  <a:lnTo>
                    <a:pt x="49" y="339"/>
                  </a:lnTo>
                  <a:cubicBezTo>
                    <a:pt x="42" y="353"/>
                    <a:pt x="36" y="367"/>
                    <a:pt x="31" y="382"/>
                  </a:cubicBezTo>
                  <a:cubicBezTo>
                    <a:pt x="21" y="411"/>
                    <a:pt x="13" y="441"/>
                    <a:pt x="8" y="473"/>
                  </a:cubicBezTo>
                  <a:cubicBezTo>
                    <a:pt x="2" y="504"/>
                    <a:pt x="0" y="537"/>
                    <a:pt x="0" y="569"/>
                  </a:cubicBezTo>
                  <a:cubicBezTo>
                    <a:pt x="1" y="601"/>
                    <a:pt x="3" y="634"/>
                    <a:pt x="8" y="666"/>
                  </a:cubicBezTo>
                  <a:cubicBezTo>
                    <a:pt x="19" y="730"/>
                    <a:pt x="39" y="792"/>
                    <a:pt x="65" y="850"/>
                  </a:cubicBezTo>
                  <a:cubicBezTo>
                    <a:pt x="92" y="908"/>
                    <a:pt x="125" y="962"/>
                    <a:pt x="161" y="1010"/>
                  </a:cubicBezTo>
                  <a:cubicBezTo>
                    <a:pt x="234" y="1108"/>
                    <a:pt x="321" y="1183"/>
                    <a:pt x="401" y="1238"/>
                  </a:cubicBezTo>
                  <a:cubicBezTo>
                    <a:pt x="442" y="1266"/>
                    <a:pt x="478" y="1288"/>
                    <a:pt x="516" y="1308"/>
                  </a:cubicBezTo>
                  <a:cubicBezTo>
                    <a:pt x="525" y="1313"/>
                    <a:pt x="533" y="1317"/>
                    <a:pt x="541" y="1320"/>
                  </a:cubicBezTo>
                  <a:cubicBezTo>
                    <a:pt x="548" y="1324"/>
                    <a:pt x="556" y="1328"/>
                    <a:pt x="563" y="1332"/>
                  </a:cubicBezTo>
                  <a:cubicBezTo>
                    <a:pt x="578" y="1338"/>
                    <a:pt x="592" y="1344"/>
                    <a:pt x="605" y="1350"/>
                  </a:cubicBezTo>
                  <a:lnTo>
                    <a:pt x="582" y="1430"/>
                  </a:lnTo>
                  <a:lnTo>
                    <a:pt x="952" y="1337"/>
                  </a:lnTo>
                  <a:lnTo>
                    <a:pt x="687" y="1063"/>
                  </a:lnTo>
                  <a:lnTo>
                    <a:pt x="657" y="1166"/>
                  </a:lnTo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Arrow11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7446F5A1-761B-44E1-9DC6-C05B619277FB}"/>
                </a:ext>
              </a:extLst>
            </p:cNvPr>
            <p:cNvSpPr>
              <a:spLocks noChangeAspect="1"/>
            </p:cNvSpPr>
            <p:nvPr/>
          </p:nvSpPr>
          <p:spPr bwMode="auto">
            <a:xfrm rot="14870168" flipV="1">
              <a:off x="4868250" y="3230614"/>
              <a:ext cx="902433" cy="1479087"/>
            </a:xfrm>
            <a:custGeom>
              <a:avLst/>
              <a:gdLst>
                <a:gd name="T0" fmla="*/ 657 w 952"/>
                <a:gd name="T1" fmla="*/ 1166 h 1430"/>
                <a:gd name="T2" fmla="*/ 637 w 952"/>
                <a:gd name="T3" fmla="*/ 1160 h 1430"/>
                <a:gd name="T4" fmla="*/ 614 w 952"/>
                <a:gd name="T5" fmla="*/ 1151 h 1430"/>
                <a:gd name="T6" fmla="*/ 591 w 952"/>
                <a:gd name="T7" fmla="*/ 1142 h 1430"/>
                <a:gd name="T8" fmla="*/ 490 w 952"/>
                <a:gd name="T9" fmla="*/ 1095 h 1430"/>
                <a:gd name="T10" fmla="*/ 267 w 952"/>
                <a:gd name="T11" fmla="*/ 923 h 1430"/>
                <a:gd name="T12" fmla="*/ 171 w 952"/>
                <a:gd name="T13" fmla="*/ 796 h 1430"/>
                <a:gd name="T14" fmla="*/ 106 w 952"/>
                <a:gd name="T15" fmla="*/ 645 h 1430"/>
                <a:gd name="T16" fmla="*/ 90 w 952"/>
                <a:gd name="T17" fmla="*/ 564 h 1430"/>
                <a:gd name="T18" fmla="*/ 89 w 952"/>
                <a:gd name="T19" fmla="*/ 482 h 1430"/>
                <a:gd name="T20" fmla="*/ 100 w 952"/>
                <a:gd name="T21" fmla="*/ 402 h 1430"/>
                <a:gd name="T22" fmla="*/ 111 w 952"/>
                <a:gd name="T23" fmla="*/ 364 h 1430"/>
                <a:gd name="T24" fmla="*/ 113 w 952"/>
                <a:gd name="T25" fmla="*/ 359 h 1430"/>
                <a:gd name="T26" fmla="*/ 113 w 952"/>
                <a:gd name="T27" fmla="*/ 358 h 1430"/>
                <a:gd name="T28" fmla="*/ 113 w 952"/>
                <a:gd name="T29" fmla="*/ 359 h 1430"/>
                <a:gd name="T30" fmla="*/ 113 w 952"/>
                <a:gd name="T31" fmla="*/ 358 h 1430"/>
                <a:gd name="T32" fmla="*/ 114 w 952"/>
                <a:gd name="T33" fmla="*/ 355 h 1430"/>
                <a:gd name="T34" fmla="*/ 118 w 952"/>
                <a:gd name="T35" fmla="*/ 345 h 1430"/>
                <a:gd name="T36" fmla="*/ 126 w 952"/>
                <a:gd name="T37" fmla="*/ 326 h 1430"/>
                <a:gd name="T38" fmla="*/ 143 w 952"/>
                <a:gd name="T39" fmla="*/ 291 h 1430"/>
                <a:gd name="T40" fmla="*/ 162 w 952"/>
                <a:gd name="T41" fmla="*/ 258 h 1430"/>
                <a:gd name="T42" fmla="*/ 184 w 952"/>
                <a:gd name="T43" fmla="*/ 227 h 1430"/>
                <a:gd name="T44" fmla="*/ 208 w 952"/>
                <a:gd name="T45" fmla="*/ 198 h 1430"/>
                <a:gd name="T46" fmla="*/ 314 w 952"/>
                <a:gd name="T47" fmla="*/ 107 h 1430"/>
                <a:gd name="T48" fmla="*/ 420 w 952"/>
                <a:gd name="T49" fmla="*/ 50 h 1430"/>
                <a:gd name="T50" fmla="*/ 467 w 952"/>
                <a:gd name="T51" fmla="*/ 31 h 1430"/>
                <a:gd name="T52" fmla="*/ 509 w 952"/>
                <a:gd name="T53" fmla="*/ 18 h 1430"/>
                <a:gd name="T54" fmla="*/ 542 w 952"/>
                <a:gd name="T55" fmla="*/ 9 h 1430"/>
                <a:gd name="T56" fmla="*/ 568 w 952"/>
                <a:gd name="T57" fmla="*/ 4 h 1430"/>
                <a:gd name="T58" fmla="*/ 589 w 952"/>
                <a:gd name="T59" fmla="*/ 0 h 1430"/>
                <a:gd name="T60" fmla="*/ 567 w 952"/>
                <a:gd name="T61" fmla="*/ 2 h 1430"/>
                <a:gd name="T62" fmla="*/ 541 w 952"/>
                <a:gd name="T63" fmla="*/ 5 h 1430"/>
                <a:gd name="T64" fmla="*/ 507 w 952"/>
                <a:gd name="T65" fmla="*/ 10 h 1430"/>
                <a:gd name="T66" fmla="*/ 464 w 952"/>
                <a:gd name="T67" fmla="*/ 19 h 1430"/>
                <a:gd name="T68" fmla="*/ 414 w 952"/>
                <a:gd name="T69" fmla="*/ 32 h 1430"/>
                <a:gd name="T70" fmla="*/ 298 w 952"/>
                <a:gd name="T71" fmla="*/ 80 h 1430"/>
                <a:gd name="T72" fmla="*/ 175 w 952"/>
                <a:gd name="T73" fmla="*/ 165 h 1430"/>
                <a:gd name="T74" fmla="*/ 69 w 952"/>
                <a:gd name="T75" fmla="*/ 299 h 1430"/>
                <a:gd name="T76" fmla="*/ 59 w 952"/>
                <a:gd name="T77" fmla="*/ 318 h 1430"/>
                <a:gd name="T78" fmla="*/ 54 w 952"/>
                <a:gd name="T79" fmla="*/ 327 h 1430"/>
                <a:gd name="T80" fmla="*/ 53 w 952"/>
                <a:gd name="T81" fmla="*/ 330 h 1430"/>
                <a:gd name="T82" fmla="*/ 52 w 952"/>
                <a:gd name="T83" fmla="*/ 331 h 1430"/>
                <a:gd name="T84" fmla="*/ 51 w 952"/>
                <a:gd name="T85" fmla="*/ 333 h 1430"/>
                <a:gd name="T86" fmla="*/ 49 w 952"/>
                <a:gd name="T87" fmla="*/ 339 h 1430"/>
                <a:gd name="T88" fmla="*/ 31 w 952"/>
                <a:gd name="T89" fmla="*/ 382 h 1430"/>
                <a:gd name="T90" fmla="*/ 8 w 952"/>
                <a:gd name="T91" fmla="*/ 473 h 1430"/>
                <a:gd name="T92" fmla="*/ 0 w 952"/>
                <a:gd name="T93" fmla="*/ 569 h 1430"/>
                <a:gd name="T94" fmla="*/ 8 w 952"/>
                <a:gd name="T95" fmla="*/ 666 h 1430"/>
                <a:gd name="T96" fmla="*/ 65 w 952"/>
                <a:gd name="T97" fmla="*/ 850 h 1430"/>
                <a:gd name="T98" fmla="*/ 161 w 952"/>
                <a:gd name="T99" fmla="*/ 1010 h 1430"/>
                <a:gd name="T100" fmla="*/ 401 w 952"/>
                <a:gd name="T101" fmla="*/ 1238 h 1430"/>
                <a:gd name="T102" fmla="*/ 516 w 952"/>
                <a:gd name="T103" fmla="*/ 1308 h 1430"/>
                <a:gd name="T104" fmla="*/ 541 w 952"/>
                <a:gd name="T105" fmla="*/ 1320 h 1430"/>
                <a:gd name="T106" fmla="*/ 563 w 952"/>
                <a:gd name="T107" fmla="*/ 1332 h 1430"/>
                <a:gd name="T108" fmla="*/ 605 w 952"/>
                <a:gd name="T109" fmla="*/ 1350 h 1430"/>
                <a:gd name="T110" fmla="*/ 582 w 952"/>
                <a:gd name="T111" fmla="*/ 1430 h 1430"/>
                <a:gd name="T112" fmla="*/ 952 w 952"/>
                <a:gd name="T113" fmla="*/ 1337 h 1430"/>
                <a:gd name="T114" fmla="*/ 687 w 952"/>
                <a:gd name="T115" fmla="*/ 1063 h 1430"/>
                <a:gd name="T116" fmla="*/ 657 w 952"/>
                <a:gd name="T117" fmla="*/ 116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2" h="1430">
                  <a:moveTo>
                    <a:pt x="657" y="1166"/>
                  </a:moveTo>
                  <a:cubicBezTo>
                    <a:pt x="651" y="1164"/>
                    <a:pt x="644" y="1162"/>
                    <a:pt x="637" y="1160"/>
                  </a:cubicBezTo>
                  <a:cubicBezTo>
                    <a:pt x="630" y="1157"/>
                    <a:pt x="622" y="1154"/>
                    <a:pt x="614" y="1151"/>
                  </a:cubicBezTo>
                  <a:cubicBezTo>
                    <a:pt x="606" y="1148"/>
                    <a:pt x="598" y="1145"/>
                    <a:pt x="591" y="1142"/>
                  </a:cubicBezTo>
                  <a:cubicBezTo>
                    <a:pt x="562" y="1131"/>
                    <a:pt x="526" y="1114"/>
                    <a:pt x="490" y="1095"/>
                  </a:cubicBezTo>
                  <a:cubicBezTo>
                    <a:pt x="417" y="1056"/>
                    <a:pt x="337" y="999"/>
                    <a:pt x="267" y="923"/>
                  </a:cubicBezTo>
                  <a:cubicBezTo>
                    <a:pt x="231" y="885"/>
                    <a:pt x="199" y="842"/>
                    <a:pt x="171" y="796"/>
                  </a:cubicBezTo>
                  <a:cubicBezTo>
                    <a:pt x="143" y="749"/>
                    <a:pt x="120" y="698"/>
                    <a:pt x="106" y="645"/>
                  </a:cubicBezTo>
                  <a:cubicBezTo>
                    <a:pt x="99" y="618"/>
                    <a:pt x="94" y="591"/>
                    <a:pt x="90" y="564"/>
                  </a:cubicBezTo>
                  <a:cubicBezTo>
                    <a:pt x="88" y="537"/>
                    <a:pt x="87" y="509"/>
                    <a:pt x="89" y="482"/>
                  </a:cubicBezTo>
                  <a:cubicBezTo>
                    <a:pt x="90" y="455"/>
                    <a:pt x="94" y="428"/>
                    <a:pt x="100" y="402"/>
                  </a:cubicBezTo>
                  <a:cubicBezTo>
                    <a:pt x="103" y="389"/>
                    <a:pt x="107" y="376"/>
                    <a:pt x="111" y="364"/>
                  </a:cubicBezTo>
                  <a:lnTo>
                    <a:pt x="113" y="359"/>
                  </a:lnTo>
                  <a:lnTo>
                    <a:pt x="113" y="358"/>
                  </a:lnTo>
                  <a:cubicBezTo>
                    <a:pt x="113" y="358"/>
                    <a:pt x="112" y="360"/>
                    <a:pt x="113" y="359"/>
                  </a:cubicBezTo>
                  <a:lnTo>
                    <a:pt x="113" y="358"/>
                  </a:lnTo>
                  <a:lnTo>
                    <a:pt x="114" y="355"/>
                  </a:lnTo>
                  <a:lnTo>
                    <a:pt x="118" y="345"/>
                  </a:lnTo>
                  <a:lnTo>
                    <a:pt x="126" y="326"/>
                  </a:lnTo>
                  <a:cubicBezTo>
                    <a:pt x="131" y="314"/>
                    <a:pt x="137" y="303"/>
                    <a:pt x="143" y="291"/>
                  </a:cubicBezTo>
                  <a:cubicBezTo>
                    <a:pt x="149" y="280"/>
                    <a:pt x="156" y="269"/>
                    <a:pt x="162" y="258"/>
                  </a:cubicBezTo>
                  <a:cubicBezTo>
                    <a:pt x="170" y="247"/>
                    <a:pt x="177" y="237"/>
                    <a:pt x="184" y="227"/>
                  </a:cubicBezTo>
                  <a:cubicBezTo>
                    <a:pt x="192" y="217"/>
                    <a:pt x="200" y="207"/>
                    <a:pt x="208" y="198"/>
                  </a:cubicBezTo>
                  <a:cubicBezTo>
                    <a:pt x="241" y="161"/>
                    <a:pt x="277" y="131"/>
                    <a:pt x="314" y="107"/>
                  </a:cubicBezTo>
                  <a:cubicBezTo>
                    <a:pt x="351" y="83"/>
                    <a:pt x="387" y="64"/>
                    <a:pt x="420" y="50"/>
                  </a:cubicBezTo>
                  <a:cubicBezTo>
                    <a:pt x="437" y="43"/>
                    <a:pt x="453" y="37"/>
                    <a:pt x="467" y="31"/>
                  </a:cubicBezTo>
                  <a:cubicBezTo>
                    <a:pt x="482" y="27"/>
                    <a:pt x="496" y="22"/>
                    <a:pt x="509" y="18"/>
                  </a:cubicBezTo>
                  <a:cubicBezTo>
                    <a:pt x="521" y="15"/>
                    <a:pt x="532" y="12"/>
                    <a:pt x="542" y="9"/>
                  </a:cubicBezTo>
                  <a:cubicBezTo>
                    <a:pt x="552" y="7"/>
                    <a:pt x="561" y="6"/>
                    <a:pt x="568" y="4"/>
                  </a:cubicBezTo>
                  <a:cubicBezTo>
                    <a:pt x="581" y="1"/>
                    <a:pt x="589" y="0"/>
                    <a:pt x="589" y="0"/>
                  </a:cubicBezTo>
                  <a:cubicBezTo>
                    <a:pt x="589" y="0"/>
                    <a:pt x="581" y="0"/>
                    <a:pt x="567" y="2"/>
                  </a:cubicBezTo>
                  <a:cubicBezTo>
                    <a:pt x="560" y="3"/>
                    <a:pt x="552" y="3"/>
                    <a:pt x="541" y="5"/>
                  </a:cubicBezTo>
                  <a:cubicBezTo>
                    <a:pt x="531" y="6"/>
                    <a:pt x="520" y="8"/>
                    <a:pt x="507" y="10"/>
                  </a:cubicBezTo>
                  <a:cubicBezTo>
                    <a:pt x="494" y="12"/>
                    <a:pt x="479" y="15"/>
                    <a:pt x="464" y="19"/>
                  </a:cubicBezTo>
                  <a:cubicBezTo>
                    <a:pt x="448" y="23"/>
                    <a:pt x="431" y="27"/>
                    <a:pt x="414" y="32"/>
                  </a:cubicBezTo>
                  <a:cubicBezTo>
                    <a:pt x="378" y="43"/>
                    <a:pt x="339" y="59"/>
                    <a:pt x="298" y="80"/>
                  </a:cubicBezTo>
                  <a:cubicBezTo>
                    <a:pt x="257" y="101"/>
                    <a:pt x="215" y="129"/>
                    <a:pt x="175" y="165"/>
                  </a:cubicBezTo>
                  <a:cubicBezTo>
                    <a:pt x="135" y="202"/>
                    <a:pt x="99" y="245"/>
                    <a:pt x="69" y="299"/>
                  </a:cubicBezTo>
                  <a:lnTo>
                    <a:pt x="59" y="318"/>
                  </a:lnTo>
                  <a:lnTo>
                    <a:pt x="54" y="327"/>
                  </a:lnTo>
                  <a:lnTo>
                    <a:pt x="53" y="330"/>
                  </a:lnTo>
                  <a:lnTo>
                    <a:pt x="52" y="331"/>
                  </a:lnTo>
                  <a:lnTo>
                    <a:pt x="51" y="333"/>
                  </a:lnTo>
                  <a:lnTo>
                    <a:pt x="49" y="339"/>
                  </a:lnTo>
                  <a:cubicBezTo>
                    <a:pt x="42" y="353"/>
                    <a:pt x="36" y="367"/>
                    <a:pt x="31" y="382"/>
                  </a:cubicBezTo>
                  <a:cubicBezTo>
                    <a:pt x="21" y="411"/>
                    <a:pt x="13" y="441"/>
                    <a:pt x="8" y="473"/>
                  </a:cubicBezTo>
                  <a:cubicBezTo>
                    <a:pt x="2" y="504"/>
                    <a:pt x="0" y="537"/>
                    <a:pt x="0" y="569"/>
                  </a:cubicBezTo>
                  <a:cubicBezTo>
                    <a:pt x="1" y="601"/>
                    <a:pt x="3" y="634"/>
                    <a:pt x="8" y="666"/>
                  </a:cubicBezTo>
                  <a:cubicBezTo>
                    <a:pt x="19" y="730"/>
                    <a:pt x="39" y="792"/>
                    <a:pt x="65" y="850"/>
                  </a:cubicBezTo>
                  <a:cubicBezTo>
                    <a:pt x="92" y="908"/>
                    <a:pt x="125" y="962"/>
                    <a:pt x="161" y="1010"/>
                  </a:cubicBezTo>
                  <a:cubicBezTo>
                    <a:pt x="234" y="1108"/>
                    <a:pt x="321" y="1183"/>
                    <a:pt x="401" y="1238"/>
                  </a:cubicBezTo>
                  <a:cubicBezTo>
                    <a:pt x="442" y="1266"/>
                    <a:pt x="478" y="1288"/>
                    <a:pt x="516" y="1308"/>
                  </a:cubicBezTo>
                  <a:cubicBezTo>
                    <a:pt x="525" y="1313"/>
                    <a:pt x="533" y="1317"/>
                    <a:pt x="541" y="1320"/>
                  </a:cubicBezTo>
                  <a:cubicBezTo>
                    <a:pt x="548" y="1324"/>
                    <a:pt x="556" y="1328"/>
                    <a:pt x="563" y="1332"/>
                  </a:cubicBezTo>
                  <a:cubicBezTo>
                    <a:pt x="578" y="1338"/>
                    <a:pt x="592" y="1344"/>
                    <a:pt x="605" y="1350"/>
                  </a:cubicBezTo>
                  <a:lnTo>
                    <a:pt x="582" y="1430"/>
                  </a:lnTo>
                  <a:lnTo>
                    <a:pt x="952" y="1337"/>
                  </a:lnTo>
                  <a:lnTo>
                    <a:pt x="687" y="1063"/>
                  </a:lnTo>
                  <a:lnTo>
                    <a:pt x="657" y="1166"/>
                  </a:lnTo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C6DF37DF-BA1A-4626-AADB-49E78D6CEB54}"/>
                </a:ext>
              </a:extLst>
            </p:cNvPr>
            <p:cNvSpPr txBox="1"/>
            <p:nvPr/>
          </p:nvSpPr>
          <p:spPr>
            <a:xfrm>
              <a:off x="2774784" y="4463254"/>
              <a:ext cx="157747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 dirty="0">
                  <a:solidFill>
                    <a:schemeClr val="tx2"/>
                  </a:solidFill>
                </a:rPr>
                <a:t>37% depuis USA</a:t>
              </a: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BDAB40F-C961-4F77-B30E-4679A3F7C8A9}"/>
                </a:ext>
              </a:extLst>
            </p:cNvPr>
            <p:cNvSpPr txBox="1"/>
            <p:nvPr/>
          </p:nvSpPr>
          <p:spPr>
            <a:xfrm>
              <a:off x="4388853" y="4463254"/>
              <a:ext cx="185965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 dirty="0">
                  <a:solidFill>
                    <a:schemeClr val="tx2"/>
                  </a:solidFill>
                </a:rPr>
                <a:t>25% depuis la Russie</a:t>
              </a:r>
            </a:p>
          </p:txBody>
        </p:sp>
        <p:pic>
          <p:nvPicPr>
            <p:cNvPr id="19" name="Image 18" descr="Une image contenant extérieur, terrain, blanc, roche&#10;&#10;Description générée automatiquement">
              <a:extLst>
                <a:ext uri="{FF2B5EF4-FFF2-40B4-BE49-F238E27FC236}">
                  <a16:creationId xmlns:a16="http://schemas.microsoft.com/office/drawing/2014/main" id="{03FB3EFC-59E9-4C85-BC58-81E80B4E9E6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2831741" y="1617324"/>
              <a:ext cx="576000" cy="576000"/>
            </a:xfrm>
            <a:prstGeom prst="ellipse">
              <a:avLst/>
            </a:prstGeom>
            <a:ln w="28575" cap="rnd">
              <a:solidFill>
                <a:schemeClr val="bg1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E58015D-1385-45A7-898A-80A9AA824AB6}"/>
                </a:ext>
              </a:extLst>
            </p:cNvPr>
            <p:cNvSpPr/>
            <p:nvPr/>
          </p:nvSpPr>
          <p:spPr>
            <a:xfrm>
              <a:off x="3034521" y="5341820"/>
              <a:ext cx="3167610" cy="5852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6F509FA1-2A18-41E2-BB8A-967027BF0C4B}"/>
                </a:ext>
              </a:extLst>
            </p:cNvPr>
            <p:cNvSpPr txBox="1"/>
            <p:nvPr/>
          </p:nvSpPr>
          <p:spPr>
            <a:xfrm>
              <a:off x="3378163" y="5416845"/>
              <a:ext cx="2763380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33 000 tonnes de demi-produits importés par UE et UK</a:t>
              </a:r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5C35C4AC-51D3-496C-B8E3-1EC6911C813B}"/>
                </a:ext>
              </a:extLst>
            </p:cNvPr>
            <p:cNvPicPr>
              <a:picLocks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2831741" y="5352788"/>
              <a:ext cx="576000" cy="576000"/>
            </a:xfrm>
            <a:prstGeom prst="ellipse">
              <a:avLst/>
            </a:prstGeom>
            <a:ln w="28575" cap="rnd">
              <a:solidFill>
                <a:schemeClr val="bg1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</p:spPr>
        </p:pic>
        <p:sp>
          <p:nvSpPr>
            <p:cNvPr id="23" name="ZoneTexte 22">
              <a:extLst>
                <a:ext uri="{FF2B5EF4-FFF2-40B4-BE49-F238E27FC236}">
                  <a16:creationId xmlns:a16="http://schemas.microsoft.com/office/drawing/2014/main" id="{281C436C-7E98-43F9-B311-05400A3F4C22}"/>
                </a:ext>
              </a:extLst>
            </p:cNvPr>
            <p:cNvSpPr txBox="1"/>
            <p:nvPr/>
          </p:nvSpPr>
          <p:spPr>
            <a:xfrm>
              <a:off x="4305344" y="2498329"/>
              <a:ext cx="150514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 dirty="0">
                  <a:solidFill>
                    <a:schemeClr val="tx2"/>
                  </a:solidFill>
                </a:rPr>
                <a:t>12% vers Russie</a:t>
              </a:r>
            </a:p>
          </p:txBody>
        </p:sp>
      </p:grpSp>
      <p:sp>
        <p:nvSpPr>
          <p:cNvPr id="3" name="ZoneTexte 2">
            <a:extLst>
              <a:ext uri="{FF2B5EF4-FFF2-40B4-BE49-F238E27FC236}">
                <a16:creationId xmlns:a16="http://schemas.microsoft.com/office/drawing/2014/main" id="{679E1728-3343-4CF1-8E79-08FABDBAAFA1}"/>
              </a:ext>
            </a:extLst>
          </p:cNvPr>
          <p:cNvSpPr txBox="1"/>
          <p:nvPr/>
        </p:nvSpPr>
        <p:spPr>
          <a:xfrm>
            <a:off x="3234280" y="4429031"/>
            <a:ext cx="9775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chemeClr val="tx2"/>
                </a:solidFill>
              </a:rPr>
              <a:t>(</a:t>
            </a:r>
            <a:r>
              <a:rPr lang="fr-FR" sz="900" i="1" dirty="0">
                <a:solidFill>
                  <a:schemeClr val="tx2"/>
                </a:solidFill>
              </a:rPr>
              <a:t>12 335 t</a:t>
            </a:r>
            <a:r>
              <a:rPr lang="fr-FR" sz="900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66" name="ZoneTexte 65">
            <a:extLst>
              <a:ext uri="{FF2B5EF4-FFF2-40B4-BE49-F238E27FC236}">
                <a16:creationId xmlns:a16="http://schemas.microsoft.com/office/drawing/2014/main" id="{A6CA6E95-4C05-4627-9500-21A11530D9DD}"/>
              </a:ext>
            </a:extLst>
          </p:cNvPr>
          <p:cNvSpPr txBox="1"/>
          <p:nvPr/>
        </p:nvSpPr>
        <p:spPr>
          <a:xfrm>
            <a:off x="4767015" y="4429031"/>
            <a:ext cx="9775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chemeClr val="tx2"/>
                </a:solidFill>
              </a:rPr>
              <a:t>(</a:t>
            </a:r>
            <a:r>
              <a:rPr lang="fr-FR" sz="900" i="1" dirty="0">
                <a:solidFill>
                  <a:schemeClr val="tx2"/>
                </a:solidFill>
              </a:rPr>
              <a:t>8 463 t</a:t>
            </a:r>
            <a:r>
              <a:rPr lang="fr-FR" sz="900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67" name="ZoneTexte 66">
            <a:extLst>
              <a:ext uri="{FF2B5EF4-FFF2-40B4-BE49-F238E27FC236}">
                <a16:creationId xmlns:a16="http://schemas.microsoft.com/office/drawing/2014/main" id="{CFD1747E-F41F-484A-B2F3-BC6AE5D9E67B}"/>
              </a:ext>
            </a:extLst>
          </p:cNvPr>
          <p:cNvSpPr txBox="1"/>
          <p:nvPr/>
        </p:nvSpPr>
        <p:spPr>
          <a:xfrm>
            <a:off x="3234280" y="2449531"/>
            <a:ext cx="9775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chemeClr val="tx2"/>
                </a:solidFill>
              </a:rPr>
              <a:t>(</a:t>
            </a:r>
            <a:r>
              <a:rPr lang="fr-FR" sz="900" i="1" dirty="0">
                <a:solidFill>
                  <a:schemeClr val="tx2"/>
                </a:solidFill>
              </a:rPr>
              <a:t>18 012 t</a:t>
            </a:r>
            <a:r>
              <a:rPr lang="fr-FR" sz="900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68" name="ZoneTexte 67">
            <a:extLst>
              <a:ext uri="{FF2B5EF4-FFF2-40B4-BE49-F238E27FC236}">
                <a16:creationId xmlns:a16="http://schemas.microsoft.com/office/drawing/2014/main" id="{408C2B51-EFAA-41DF-8E67-96FDA9195C90}"/>
              </a:ext>
            </a:extLst>
          </p:cNvPr>
          <p:cNvSpPr txBox="1"/>
          <p:nvPr/>
        </p:nvSpPr>
        <p:spPr>
          <a:xfrm>
            <a:off x="4767015" y="2449531"/>
            <a:ext cx="9775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chemeClr val="tx2"/>
                </a:solidFill>
              </a:rPr>
              <a:t>(</a:t>
            </a:r>
            <a:r>
              <a:rPr lang="fr-FR" sz="900" i="1" dirty="0">
                <a:solidFill>
                  <a:schemeClr val="tx2"/>
                </a:solidFill>
              </a:rPr>
              <a:t>3 288 t</a:t>
            </a:r>
            <a:r>
              <a:rPr lang="fr-FR" sz="900" dirty="0">
                <a:solidFill>
                  <a:schemeClr val="tx2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707221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A37F8A-4E0B-488A-AB93-40397B9DD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FBFC90B-6B25-4815-AFEB-2D189DDA2F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E6B3D44-6215-478E-9EED-C1DB6902AC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F588E96-8703-408A-99CC-BB3E325163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535BBC7-0160-44FC-B678-D1BACCEC87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</a:t>
            </a:fld>
            <a:endParaRPr lang="fr-FR" dirty="0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9D8A9925-527E-4CCE-B64C-5BD1E4085B04}"/>
              </a:ext>
            </a:extLst>
          </p:cNvPr>
          <p:cNvGrpSpPr/>
          <p:nvPr/>
        </p:nvGrpSpPr>
        <p:grpSpPr>
          <a:xfrm>
            <a:off x="2464068" y="2487283"/>
            <a:ext cx="4582312" cy="2057401"/>
            <a:chOff x="1734312" y="3733799"/>
            <a:chExt cx="4582312" cy="2057401"/>
          </a:xfrm>
        </p:grpSpPr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2976AD60-58DC-4678-8C2A-8EC98EB70FCD}"/>
                </a:ext>
              </a:extLst>
            </p:cNvPr>
            <p:cNvSpPr txBox="1"/>
            <p:nvPr/>
          </p:nvSpPr>
          <p:spPr>
            <a:xfrm>
              <a:off x="4395202" y="5489650"/>
              <a:ext cx="83324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>
                  <a:solidFill>
                    <a:schemeClr val="tx2"/>
                  </a:solidFill>
                </a:rPr>
                <a:t>Hard Alpha</a:t>
              </a:r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3B9DDA21-5AB4-48E0-A170-CBC9D4431A47}"/>
                </a:ext>
              </a:extLst>
            </p:cNvPr>
            <p:cNvSpPr txBox="1"/>
            <p:nvPr/>
          </p:nvSpPr>
          <p:spPr>
            <a:xfrm>
              <a:off x="5278969" y="5489650"/>
              <a:ext cx="91309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>
                  <a:solidFill>
                    <a:schemeClr val="tx2"/>
                  </a:solidFill>
                </a:rPr>
                <a:t>Hard Density</a:t>
              </a:r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81CD2908-41CE-4A03-9138-50AE3D6B4B19}"/>
                </a:ext>
              </a:extLst>
            </p:cNvPr>
            <p:cNvSpPr txBox="1"/>
            <p:nvPr/>
          </p:nvSpPr>
          <p:spPr>
            <a:xfrm>
              <a:off x="2928657" y="5486853"/>
              <a:ext cx="91309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>
                  <a:solidFill>
                    <a:schemeClr val="tx2"/>
                  </a:solidFill>
                </a:rPr>
                <a:t>Hard Density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C4BE68FF-6F19-409A-91F7-A6FD59FFE38B}"/>
                </a:ext>
              </a:extLst>
            </p:cNvPr>
            <p:cNvSpPr txBox="1"/>
            <p:nvPr/>
          </p:nvSpPr>
          <p:spPr>
            <a:xfrm>
              <a:off x="2038540" y="5486853"/>
              <a:ext cx="83324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>
                  <a:solidFill>
                    <a:schemeClr val="tx2"/>
                  </a:solidFill>
                </a:rPr>
                <a:t>Hard Alpha</a:t>
              </a:r>
            </a:p>
          </p:txBody>
        </p:sp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FE6CD69C-D0FE-4470-80EE-442C695C6EBE}"/>
                </a:ext>
              </a:extLst>
            </p:cNvPr>
            <p:cNvGrpSpPr/>
            <p:nvPr/>
          </p:nvGrpSpPr>
          <p:grpSpPr>
            <a:xfrm>
              <a:off x="4226737" y="4210049"/>
              <a:ext cx="1965325" cy="976800"/>
              <a:chOff x="1876425" y="4216400"/>
              <a:chExt cx="1965325" cy="976800"/>
            </a:xfrm>
          </p:grpSpPr>
          <p:cxnSp>
            <p:nvCxnSpPr>
              <p:cNvPr id="39" name="Connecteur droit 38">
                <a:extLst>
                  <a:ext uri="{FF2B5EF4-FFF2-40B4-BE49-F238E27FC236}">
                    <a16:creationId xmlns:a16="http://schemas.microsoft.com/office/drawing/2014/main" id="{F2AEC527-49A9-4680-91D4-1546A5F97251}"/>
                  </a:ext>
                </a:extLst>
              </p:cNvPr>
              <p:cNvCxnSpPr/>
              <p:nvPr/>
            </p:nvCxnSpPr>
            <p:spPr>
              <a:xfrm>
                <a:off x="1876425" y="42164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Connecteur droit 39">
                <a:extLst>
                  <a:ext uri="{FF2B5EF4-FFF2-40B4-BE49-F238E27FC236}">
                    <a16:creationId xmlns:a16="http://schemas.microsoft.com/office/drawing/2014/main" id="{398699ED-0B57-456A-A537-B4EC3614B9B5}"/>
                  </a:ext>
                </a:extLst>
              </p:cNvPr>
              <p:cNvCxnSpPr/>
              <p:nvPr/>
            </p:nvCxnSpPr>
            <p:spPr>
              <a:xfrm>
                <a:off x="1876425" y="44606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Connecteur droit 40">
                <a:extLst>
                  <a:ext uri="{FF2B5EF4-FFF2-40B4-BE49-F238E27FC236}">
                    <a16:creationId xmlns:a16="http://schemas.microsoft.com/office/drawing/2014/main" id="{FD509C30-6FF7-4ECD-9505-835FEBE8CA12}"/>
                  </a:ext>
                </a:extLst>
              </p:cNvPr>
              <p:cNvCxnSpPr/>
              <p:nvPr/>
            </p:nvCxnSpPr>
            <p:spPr>
              <a:xfrm>
                <a:off x="1876425" y="47048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necteur droit 41">
                <a:extLst>
                  <a:ext uri="{FF2B5EF4-FFF2-40B4-BE49-F238E27FC236}">
                    <a16:creationId xmlns:a16="http://schemas.microsoft.com/office/drawing/2014/main" id="{FB37B187-B54C-4C20-91E5-C70FF517B3F2}"/>
                  </a:ext>
                </a:extLst>
              </p:cNvPr>
              <p:cNvCxnSpPr/>
              <p:nvPr/>
            </p:nvCxnSpPr>
            <p:spPr>
              <a:xfrm>
                <a:off x="1876425" y="49490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Connecteur droit 42">
                <a:extLst>
                  <a:ext uri="{FF2B5EF4-FFF2-40B4-BE49-F238E27FC236}">
                    <a16:creationId xmlns:a16="http://schemas.microsoft.com/office/drawing/2014/main" id="{9E4193AF-BD77-48C0-8F11-78B4EE0466D4}"/>
                  </a:ext>
                </a:extLst>
              </p:cNvPr>
              <p:cNvCxnSpPr/>
              <p:nvPr/>
            </p:nvCxnSpPr>
            <p:spPr>
              <a:xfrm>
                <a:off x="1876425" y="5193200"/>
                <a:ext cx="1965325" cy="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e 13">
              <a:extLst>
                <a:ext uri="{FF2B5EF4-FFF2-40B4-BE49-F238E27FC236}">
                  <a16:creationId xmlns:a16="http://schemas.microsoft.com/office/drawing/2014/main" id="{68D442D2-D6E5-4B2C-89A1-5356C9D7626E}"/>
                </a:ext>
              </a:extLst>
            </p:cNvPr>
            <p:cNvGrpSpPr/>
            <p:nvPr/>
          </p:nvGrpSpPr>
          <p:grpSpPr>
            <a:xfrm>
              <a:off x="1876425" y="4216400"/>
              <a:ext cx="1965325" cy="976800"/>
              <a:chOff x="1876425" y="4216400"/>
              <a:chExt cx="1965325" cy="976800"/>
            </a:xfrm>
          </p:grpSpPr>
          <p:cxnSp>
            <p:nvCxnSpPr>
              <p:cNvPr id="34" name="Connecteur droit 33">
                <a:extLst>
                  <a:ext uri="{FF2B5EF4-FFF2-40B4-BE49-F238E27FC236}">
                    <a16:creationId xmlns:a16="http://schemas.microsoft.com/office/drawing/2014/main" id="{A863D25C-7AFE-4380-AD75-FE34C9B7285A}"/>
                  </a:ext>
                </a:extLst>
              </p:cNvPr>
              <p:cNvCxnSpPr/>
              <p:nvPr/>
            </p:nvCxnSpPr>
            <p:spPr>
              <a:xfrm>
                <a:off x="1876425" y="42164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Connecteur droit 34">
                <a:extLst>
                  <a:ext uri="{FF2B5EF4-FFF2-40B4-BE49-F238E27FC236}">
                    <a16:creationId xmlns:a16="http://schemas.microsoft.com/office/drawing/2014/main" id="{25CBF94E-1106-4E14-B520-4136008C91C4}"/>
                  </a:ext>
                </a:extLst>
              </p:cNvPr>
              <p:cNvCxnSpPr/>
              <p:nvPr/>
            </p:nvCxnSpPr>
            <p:spPr>
              <a:xfrm>
                <a:off x="1876425" y="44606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Connecteur droit 35">
                <a:extLst>
                  <a:ext uri="{FF2B5EF4-FFF2-40B4-BE49-F238E27FC236}">
                    <a16:creationId xmlns:a16="http://schemas.microsoft.com/office/drawing/2014/main" id="{C819EC4C-7A13-4E10-AAC5-78D7462447DB}"/>
                  </a:ext>
                </a:extLst>
              </p:cNvPr>
              <p:cNvCxnSpPr/>
              <p:nvPr/>
            </p:nvCxnSpPr>
            <p:spPr>
              <a:xfrm>
                <a:off x="1876425" y="47048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Connecteur droit 36">
                <a:extLst>
                  <a:ext uri="{FF2B5EF4-FFF2-40B4-BE49-F238E27FC236}">
                    <a16:creationId xmlns:a16="http://schemas.microsoft.com/office/drawing/2014/main" id="{7562C839-6B4B-47EC-8871-3BD0711E9DDC}"/>
                  </a:ext>
                </a:extLst>
              </p:cNvPr>
              <p:cNvCxnSpPr/>
              <p:nvPr/>
            </p:nvCxnSpPr>
            <p:spPr>
              <a:xfrm>
                <a:off x="1876425" y="49490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Connecteur droit 37">
                <a:extLst>
                  <a:ext uri="{FF2B5EF4-FFF2-40B4-BE49-F238E27FC236}">
                    <a16:creationId xmlns:a16="http://schemas.microsoft.com/office/drawing/2014/main" id="{6205433F-ED50-4B2B-B319-A16D3C8D16BD}"/>
                  </a:ext>
                </a:extLst>
              </p:cNvPr>
              <p:cNvCxnSpPr/>
              <p:nvPr/>
            </p:nvCxnSpPr>
            <p:spPr>
              <a:xfrm>
                <a:off x="1876425" y="5193200"/>
                <a:ext cx="1965325" cy="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0ED2221-AF9C-42FD-A3CB-9E90F38FBEE5}"/>
                </a:ext>
              </a:extLst>
            </p:cNvPr>
            <p:cNvSpPr/>
            <p:nvPr/>
          </p:nvSpPr>
          <p:spPr>
            <a:xfrm>
              <a:off x="2155824" y="4424962"/>
              <a:ext cx="403200" cy="761106"/>
            </a:xfrm>
            <a:prstGeom prst="rect">
              <a:avLst/>
            </a:prstGeom>
            <a:solidFill>
              <a:srgbClr val="C2D8D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2F0F8CC-116A-427D-96FA-A75E7EC885A2}"/>
                </a:ext>
              </a:extLst>
            </p:cNvPr>
            <p:cNvSpPr/>
            <p:nvPr/>
          </p:nvSpPr>
          <p:spPr>
            <a:xfrm>
              <a:off x="2155824" y="4379243"/>
              <a:ext cx="403200" cy="45719"/>
            </a:xfrm>
            <a:prstGeom prst="rect">
              <a:avLst/>
            </a:prstGeom>
            <a:solidFill>
              <a:srgbClr val="1B9D9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E82398F-C5DA-4798-B937-370B1044318A}"/>
                </a:ext>
              </a:extLst>
            </p:cNvPr>
            <p:cNvSpPr/>
            <p:nvPr/>
          </p:nvSpPr>
          <p:spPr>
            <a:xfrm>
              <a:off x="3148011" y="5175200"/>
              <a:ext cx="398896" cy="18000"/>
            </a:xfrm>
            <a:prstGeom prst="rect">
              <a:avLst/>
            </a:prstGeom>
            <a:solidFill>
              <a:srgbClr val="C2D8D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F49355A-0AE0-47CE-A598-E38A18797134}"/>
                </a:ext>
              </a:extLst>
            </p:cNvPr>
            <p:cNvSpPr/>
            <p:nvPr/>
          </p:nvSpPr>
          <p:spPr>
            <a:xfrm>
              <a:off x="1734312" y="3740150"/>
              <a:ext cx="2232000" cy="2051050"/>
            </a:xfrm>
            <a:prstGeom prst="rect">
              <a:avLst/>
            </a:prstGeom>
            <a:noFill/>
            <a:ln w="9525">
              <a:solidFill>
                <a:srgbClr val="1B9D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3CBCAA0-A9C0-49DD-8BD0-B7130869EBD4}"/>
                </a:ext>
              </a:extLst>
            </p:cNvPr>
            <p:cNvSpPr/>
            <p:nvPr/>
          </p:nvSpPr>
          <p:spPr>
            <a:xfrm>
              <a:off x="4506136" y="4683495"/>
              <a:ext cx="403200" cy="496221"/>
            </a:xfrm>
            <a:prstGeom prst="rect">
              <a:avLst/>
            </a:prstGeom>
            <a:solidFill>
              <a:srgbClr val="C2D8D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57162E7-0EC4-4929-ADFF-42644AC658D5}"/>
                </a:ext>
              </a:extLst>
            </p:cNvPr>
            <p:cNvSpPr/>
            <p:nvPr/>
          </p:nvSpPr>
          <p:spPr>
            <a:xfrm>
              <a:off x="4506136" y="4290616"/>
              <a:ext cx="403200" cy="402034"/>
            </a:xfrm>
            <a:prstGeom prst="rect">
              <a:avLst/>
            </a:prstGeom>
            <a:solidFill>
              <a:srgbClr val="1B9D9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E841E85-6B97-4F3F-809B-B09BB8C5BEB6}"/>
                </a:ext>
              </a:extLst>
            </p:cNvPr>
            <p:cNvSpPr/>
            <p:nvPr/>
          </p:nvSpPr>
          <p:spPr>
            <a:xfrm>
              <a:off x="5496171" y="5086351"/>
              <a:ext cx="403200" cy="100498"/>
            </a:xfrm>
            <a:prstGeom prst="rect">
              <a:avLst/>
            </a:prstGeom>
            <a:solidFill>
              <a:srgbClr val="C2D8D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E48F628-6A28-4897-9601-6ED2B7C0FC88}"/>
                </a:ext>
              </a:extLst>
            </p:cNvPr>
            <p:cNvSpPr/>
            <p:nvPr/>
          </p:nvSpPr>
          <p:spPr>
            <a:xfrm>
              <a:off x="4084624" y="3733799"/>
              <a:ext cx="2232000" cy="2051050"/>
            </a:xfrm>
            <a:prstGeom prst="rect">
              <a:avLst/>
            </a:prstGeom>
            <a:noFill/>
            <a:ln w="9525">
              <a:solidFill>
                <a:srgbClr val="1B9D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0504885-C785-4069-9AFA-80D1096EECA9}"/>
                </a:ext>
              </a:extLst>
            </p:cNvPr>
            <p:cNvSpPr/>
            <p:nvPr/>
          </p:nvSpPr>
          <p:spPr>
            <a:xfrm>
              <a:off x="5496171" y="4907754"/>
              <a:ext cx="403200" cy="180000"/>
            </a:xfrm>
            <a:prstGeom prst="rect">
              <a:avLst/>
            </a:prstGeom>
            <a:solidFill>
              <a:srgbClr val="1B9D9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id="{BF05D724-87C2-49D4-BADA-1149262E4B0F}"/>
                </a:ext>
              </a:extLst>
            </p:cNvPr>
            <p:cNvSpPr txBox="1"/>
            <p:nvPr/>
          </p:nvSpPr>
          <p:spPr>
            <a:xfrm>
              <a:off x="2217852" y="3831779"/>
              <a:ext cx="126492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 dirty="0">
                  <a:solidFill>
                    <a:schemeClr val="tx2"/>
                  </a:solidFill>
                </a:rPr>
                <a:t>PAMCHR + VAR</a:t>
              </a:r>
            </a:p>
          </p:txBody>
        </p:sp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AC8B0D85-3BC4-4211-9E9C-94FBABE11058}"/>
                </a:ext>
              </a:extLst>
            </p:cNvPr>
            <p:cNvSpPr txBox="1"/>
            <p:nvPr/>
          </p:nvSpPr>
          <p:spPr>
            <a:xfrm>
              <a:off x="4728983" y="3831779"/>
              <a:ext cx="94328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 dirty="0">
                  <a:solidFill>
                    <a:schemeClr val="tx2"/>
                  </a:solidFill>
                </a:rPr>
                <a:t>3 x VAR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BCF5EDA-A86F-4FD7-8811-8EF07D9852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11832" y="5557269"/>
              <a:ext cx="91134" cy="90000"/>
            </a:xfrm>
            <a:prstGeom prst="rect">
              <a:avLst/>
            </a:prstGeom>
            <a:solidFill>
              <a:srgbClr val="D1E1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411B06F-3CBC-426D-B388-83927CDFAF8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97938" y="5557269"/>
              <a:ext cx="91134" cy="90000"/>
            </a:xfrm>
            <a:prstGeom prst="rect">
              <a:avLst/>
            </a:prstGeom>
            <a:solidFill>
              <a:srgbClr val="1B9D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080F68DC-368F-41C3-959D-5437C5928F28}"/>
                </a:ext>
              </a:extLst>
            </p:cNvPr>
            <p:cNvSpPr txBox="1"/>
            <p:nvPr/>
          </p:nvSpPr>
          <p:spPr>
            <a:xfrm>
              <a:off x="2127113" y="5238530"/>
              <a:ext cx="46062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 err="1">
                  <a:solidFill>
                    <a:schemeClr val="tx2"/>
                  </a:solidFill>
                </a:rPr>
                <a:t>Early</a:t>
              </a:r>
              <a:endParaRPr lang="fr-FR" sz="900" dirty="0">
                <a:solidFill>
                  <a:schemeClr val="tx2"/>
                </a:solidFill>
              </a:endParaRPr>
            </a:p>
          </p:txBody>
        </p:sp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E8243209-EBE6-4352-B209-B94BD9EA41E2}"/>
                </a:ext>
              </a:extLst>
            </p:cNvPr>
            <p:cNvSpPr txBox="1"/>
            <p:nvPr/>
          </p:nvSpPr>
          <p:spPr>
            <a:xfrm>
              <a:off x="3057573" y="5238530"/>
              <a:ext cx="57977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 err="1">
                  <a:solidFill>
                    <a:schemeClr val="tx2"/>
                  </a:solidFill>
                </a:rPr>
                <a:t>Recent</a:t>
              </a:r>
              <a:endParaRPr lang="fr-FR" sz="900" dirty="0">
                <a:solidFill>
                  <a:schemeClr val="tx2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C9C8DA3-F54C-4626-A371-B7985B9C5A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2144" y="5560066"/>
              <a:ext cx="91134" cy="90000"/>
            </a:xfrm>
            <a:prstGeom prst="rect">
              <a:avLst/>
            </a:prstGeom>
            <a:solidFill>
              <a:srgbClr val="D1E1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123143D-AA6C-4ED4-A31C-D0D52F6FB0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48250" y="5560066"/>
              <a:ext cx="91134" cy="90000"/>
            </a:xfrm>
            <a:prstGeom prst="rect">
              <a:avLst/>
            </a:prstGeom>
            <a:solidFill>
              <a:srgbClr val="1B9D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14CC4CE5-8E17-4865-8127-F6E650D146D3}"/>
                </a:ext>
              </a:extLst>
            </p:cNvPr>
            <p:cNvSpPr txBox="1"/>
            <p:nvPr/>
          </p:nvSpPr>
          <p:spPr>
            <a:xfrm>
              <a:off x="4477425" y="5238530"/>
              <a:ext cx="46062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 err="1">
                  <a:solidFill>
                    <a:schemeClr val="tx2"/>
                  </a:solidFill>
                </a:rPr>
                <a:t>Early</a:t>
              </a:r>
              <a:endParaRPr lang="fr-FR" sz="900" dirty="0">
                <a:solidFill>
                  <a:schemeClr val="tx2"/>
                </a:solidFill>
              </a:endParaRPr>
            </a:p>
          </p:txBody>
        </p:sp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1DF5E048-F614-4F2B-8937-940397B29EA5}"/>
                </a:ext>
              </a:extLst>
            </p:cNvPr>
            <p:cNvSpPr txBox="1"/>
            <p:nvPr/>
          </p:nvSpPr>
          <p:spPr>
            <a:xfrm>
              <a:off x="5407885" y="5238530"/>
              <a:ext cx="57977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 err="1">
                  <a:solidFill>
                    <a:schemeClr val="tx2"/>
                  </a:solidFill>
                </a:rPr>
                <a:t>Recent</a:t>
              </a:r>
              <a:endParaRPr lang="fr-FR" sz="9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40822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E01E93E-020E-403A-BAC8-249A27A36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61732E7-6B88-436A-88C8-F72CE669AC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8AD1D49C-0105-49B1-9EC6-5C743DBF75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3AC37F6-1402-4245-8B3D-2A61D20DFD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1929" y="6191198"/>
            <a:ext cx="3420000" cy="440684"/>
          </a:xfrm>
        </p:spPr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3829C1B-8D8D-41B0-996D-2DAE39B63FA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40000" y="6192682"/>
            <a:ext cx="288033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3</a:t>
            </a:fld>
            <a:endParaRPr lang="fr-FR" dirty="0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49FF7D44-4A91-41FD-90F5-CE8E834F309F}"/>
              </a:ext>
            </a:extLst>
          </p:cNvPr>
          <p:cNvGrpSpPr/>
          <p:nvPr/>
        </p:nvGrpSpPr>
        <p:grpSpPr>
          <a:xfrm>
            <a:off x="1070461" y="1633197"/>
            <a:ext cx="1610267" cy="503354"/>
            <a:chOff x="399215" y="3936733"/>
            <a:chExt cx="1610267" cy="50335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973582B-DE58-4ECB-BE82-9C7C1F4B208D}"/>
                </a:ext>
              </a:extLst>
            </p:cNvPr>
            <p:cNvSpPr/>
            <p:nvPr/>
          </p:nvSpPr>
          <p:spPr>
            <a:xfrm>
              <a:off x="418431" y="3936733"/>
              <a:ext cx="1571835" cy="503354"/>
            </a:xfrm>
            <a:prstGeom prst="rect">
              <a:avLst/>
            </a:prstGeom>
            <a:solidFill>
              <a:srgbClr val="1B9D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D9EC0DF9-8EF5-49A1-B654-29CEF2C907A3}"/>
                </a:ext>
              </a:extLst>
            </p:cNvPr>
            <p:cNvSpPr txBox="1"/>
            <p:nvPr/>
          </p:nvSpPr>
          <p:spPr>
            <a:xfrm>
              <a:off x="399215" y="4034735"/>
              <a:ext cx="161026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Voie Recyclage</a:t>
              </a:r>
            </a:p>
          </p:txBody>
        </p:sp>
      </p:grpSp>
      <p:grpSp>
        <p:nvGrpSpPr>
          <p:cNvPr id="12" name="Arrow3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58A0356-ED53-4894-82C7-26A3E9E33FCA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2228790" y="2559911"/>
            <a:ext cx="206952" cy="180000"/>
            <a:chOff x="1412032" y="2732632"/>
            <a:chExt cx="1016496" cy="884112"/>
          </a:xfrm>
          <a:solidFill>
            <a:srgbClr val="1BAE8F"/>
          </a:solidFill>
        </p:grpSpPr>
        <p:sp>
          <p:nvSpPr>
            <p:cNvPr id="17" name="Chevron 177">
              <a:extLst>
                <a:ext uri="{FF2B5EF4-FFF2-40B4-BE49-F238E27FC236}">
                  <a16:creationId xmlns:a16="http://schemas.microsoft.com/office/drawing/2014/main" id="{3DA86D6D-E63D-46E0-A1DE-E341786E6B89}"/>
                </a:ext>
              </a:extLst>
            </p:cNvPr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Chevron 178">
              <a:extLst>
                <a:ext uri="{FF2B5EF4-FFF2-40B4-BE49-F238E27FC236}">
                  <a16:creationId xmlns:a16="http://schemas.microsoft.com/office/drawing/2014/main" id="{D6D3769E-87C2-475E-BF14-8A8DF1501B1B}"/>
                </a:ext>
              </a:extLst>
            </p:cNvPr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AutoShape 11">
            <a:extLst>
              <a:ext uri="{FF2B5EF4-FFF2-40B4-BE49-F238E27FC236}">
                <a16:creationId xmlns:a16="http://schemas.microsoft.com/office/drawing/2014/main" id="{95710EC5-0221-4A7B-BF16-C0ECCBFC4D89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1308768" y="1751163"/>
            <a:ext cx="1137795" cy="222326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1B9D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16" name="Text Box 12">
            <a:extLst>
              <a:ext uri="{FF2B5EF4-FFF2-40B4-BE49-F238E27FC236}">
                <a16:creationId xmlns:a16="http://schemas.microsoft.com/office/drawing/2014/main" id="{D2794FB1-7B2F-415A-92AA-D1AEDF551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3158" y="2298585"/>
            <a:ext cx="222326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fr-FR" altLang="fr-FR" sz="1400" dirty="0">
                <a:solidFill>
                  <a:schemeClr val="tx2"/>
                </a:solidFill>
              </a:rPr>
              <a:t>Traitement des matières réversibl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1B24D68-E281-46A7-942C-5BDEDD59AEA5}"/>
              </a:ext>
            </a:extLst>
          </p:cNvPr>
          <p:cNvSpPr txBox="1"/>
          <p:nvPr/>
        </p:nvSpPr>
        <p:spPr>
          <a:xfrm>
            <a:off x="1120815" y="2793818"/>
            <a:ext cx="17446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i="1" dirty="0">
                <a:solidFill>
                  <a:schemeClr val="tx2"/>
                </a:solidFill>
              </a:rPr>
              <a:t>Tri / Nettoy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i="1" dirty="0">
                <a:solidFill>
                  <a:schemeClr val="tx2"/>
                </a:solidFill>
              </a:rPr>
              <a:t>Conditionn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i="1" dirty="0">
                <a:solidFill>
                  <a:schemeClr val="tx2"/>
                </a:solidFill>
              </a:rPr>
              <a:t>Compactage</a:t>
            </a:r>
          </a:p>
        </p:txBody>
      </p:sp>
      <p:sp>
        <p:nvSpPr>
          <p:cNvPr id="20" name="AutoShape 101">
            <a:extLst>
              <a:ext uri="{FF2B5EF4-FFF2-40B4-BE49-F238E27FC236}">
                <a16:creationId xmlns:a16="http://schemas.microsoft.com/office/drawing/2014/main" id="{C4145CCD-BDD7-4D80-8B95-E3A744CA81B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1660329" y="3154743"/>
            <a:ext cx="434673" cy="150024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1B9D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21" name="Text Box 102">
            <a:extLst>
              <a:ext uri="{FF2B5EF4-FFF2-40B4-BE49-F238E27FC236}">
                <a16:creationId xmlns:a16="http://schemas.microsoft.com/office/drawing/2014/main" id="{E6411822-F67C-4A7B-B612-5EAC9C6AFA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86245" y="3742034"/>
            <a:ext cx="120485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ts val="400"/>
              </a:spcBef>
            </a:pPr>
            <a:r>
              <a:rPr lang="fr-FR" altLang="fr-FR" sz="1400" dirty="0">
                <a:solidFill>
                  <a:schemeClr val="tx2"/>
                </a:solidFill>
              </a:rPr>
              <a:t>PAMCHR</a:t>
            </a:r>
          </a:p>
        </p:txBody>
      </p:sp>
      <p:sp>
        <p:nvSpPr>
          <p:cNvPr id="23" name="AutoShape 81">
            <a:extLst>
              <a:ext uri="{FF2B5EF4-FFF2-40B4-BE49-F238E27FC236}">
                <a16:creationId xmlns:a16="http://schemas.microsoft.com/office/drawing/2014/main" id="{D46B80E3-070D-4C45-A8DA-DC0FCC2CB0AB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1692564" y="3569897"/>
            <a:ext cx="370203" cy="201572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1B9D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24" name="Text Box 82">
            <a:extLst>
              <a:ext uri="{FF2B5EF4-FFF2-40B4-BE49-F238E27FC236}">
                <a16:creationId xmlns:a16="http://schemas.microsoft.com/office/drawing/2014/main" id="{28720635-1C8F-4AF4-8EE4-B36E9C5202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3470" y="4405342"/>
            <a:ext cx="17796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ts val="400"/>
              </a:spcBef>
            </a:pPr>
            <a:r>
              <a:rPr lang="fr-FR" altLang="fr-FR" sz="1400" dirty="0">
                <a:solidFill>
                  <a:schemeClr val="tx2"/>
                </a:solidFill>
              </a:rPr>
              <a:t>Refusion sous Vide</a:t>
            </a:r>
          </a:p>
        </p:txBody>
      </p:sp>
      <p:grpSp>
        <p:nvGrpSpPr>
          <p:cNvPr id="25" name="Arrow3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61E1193-679B-4CF8-8787-B1732B4FDB1B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1774189" y="3471273"/>
            <a:ext cx="206952" cy="180000"/>
            <a:chOff x="1412032" y="2732632"/>
            <a:chExt cx="1016496" cy="884112"/>
          </a:xfrm>
          <a:solidFill>
            <a:srgbClr val="1BAE8F"/>
          </a:solidFill>
        </p:grpSpPr>
        <p:sp>
          <p:nvSpPr>
            <p:cNvPr id="26" name="Chevron 177">
              <a:extLst>
                <a:ext uri="{FF2B5EF4-FFF2-40B4-BE49-F238E27FC236}">
                  <a16:creationId xmlns:a16="http://schemas.microsoft.com/office/drawing/2014/main" id="{BB5BC6C7-66FB-4BC7-948B-5AEC1A159F1C}"/>
                </a:ext>
              </a:extLst>
            </p:cNvPr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rgbClr val="1BAE8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Chevron 178">
              <a:extLst>
                <a:ext uri="{FF2B5EF4-FFF2-40B4-BE49-F238E27FC236}">
                  <a16:creationId xmlns:a16="http://schemas.microsoft.com/office/drawing/2014/main" id="{7BC862C3-AB2F-4FA0-BB45-1808D2E205CA}"/>
                </a:ext>
              </a:extLst>
            </p:cNvPr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rgbClr val="1BAE8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Arrow3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A248F2-F914-4B17-844C-3A8563FA5462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1774189" y="4162881"/>
            <a:ext cx="206952" cy="180000"/>
            <a:chOff x="1412032" y="2732632"/>
            <a:chExt cx="1016496" cy="884112"/>
          </a:xfrm>
          <a:solidFill>
            <a:srgbClr val="1BAE8F"/>
          </a:solidFill>
        </p:grpSpPr>
        <p:sp>
          <p:nvSpPr>
            <p:cNvPr id="29" name="Chevron 177">
              <a:extLst>
                <a:ext uri="{FF2B5EF4-FFF2-40B4-BE49-F238E27FC236}">
                  <a16:creationId xmlns:a16="http://schemas.microsoft.com/office/drawing/2014/main" id="{77D76989-78FE-4C79-B51C-B1D2FB8D61C1}"/>
                </a:ext>
              </a:extLst>
            </p:cNvPr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rgbClr val="1BAE8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Chevron 178">
              <a:extLst>
                <a:ext uri="{FF2B5EF4-FFF2-40B4-BE49-F238E27FC236}">
                  <a16:creationId xmlns:a16="http://schemas.microsoft.com/office/drawing/2014/main" id="{36E7BA8A-8370-4CC7-B27D-2358CF6E4DBC}"/>
                </a:ext>
              </a:extLst>
            </p:cNvPr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rgbClr val="1BAE8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533EED9A-F4AE-4FDA-9F76-6855CA2A85F5}"/>
              </a:ext>
            </a:extLst>
          </p:cNvPr>
          <p:cNvGrpSpPr/>
          <p:nvPr/>
        </p:nvGrpSpPr>
        <p:grpSpPr>
          <a:xfrm>
            <a:off x="4557519" y="1633197"/>
            <a:ext cx="1610267" cy="503355"/>
            <a:chOff x="399215" y="5530890"/>
            <a:chExt cx="1610267" cy="503355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E3799D9-EAD5-4BCD-86D1-F96B7FAA00D2}"/>
                </a:ext>
              </a:extLst>
            </p:cNvPr>
            <p:cNvSpPr/>
            <p:nvPr/>
          </p:nvSpPr>
          <p:spPr>
            <a:xfrm>
              <a:off x="418431" y="5530890"/>
              <a:ext cx="1571835" cy="503355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3" name="ZoneTexte 52">
              <a:extLst>
                <a:ext uri="{FF2B5EF4-FFF2-40B4-BE49-F238E27FC236}">
                  <a16:creationId xmlns:a16="http://schemas.microsoft.com/office/drawing/2014/main" id="{0CD61583-2C23-45D0-92F4-6F27DA4DF1D0}"/>
                </a:ext>
              </a:extLst>
            </p:cNvPr>
            <p:cNvSpPr txBox="1"/>
            <p:nvPr/>
          </p:nvSpPr>
          <p:spPr>
            <a:xfrm>
              <a:off x="399215" y="5635350"/>
              <a:ext cx="161026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Voie Eponges</a:t>
              </a:r>
            </a:p>
          </p:txBody>
        </p:sp>
      </p:grpSp>
      <p:sp>
        <p:nvSpPr>
          <p:cNvPr id="55" name="AutoShape 11">
            <a:extLst>
              <a:ext uri="{FF2B5EF4-FFF2-40B4-BE49-F238E27FC236}">
                <a16:creationId xmlns:a16="http://schemas.microsoft.com/office/drawing/2014/main" id="{323161CB-9185-40F1-A3F3-5236C2F8F249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241422" y="1739653"/>
            <a:ext cx="307778" cy="142564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56" name="Text Box 12">
            <a:extLst>
              <a:ext uri="{FF2B5EF4-FFF2-40B4-BE49-F238E27FC236}">
                <a16:creationId xmlns:a16="http://schemas.microsoft.com/office/drawing/2014/main" id="{8E82EA2A-E540-47A2-9DA3-68458CF5D4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89901" y="2269459"/>
            <a:ext cx="118799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ts val="400"/>
              </a:spcBef>
            </a:pPr>
            <a:r>
              <a:rPr lang="fr-FR" altLang="fr-FR" sz="1400" dirty="0">
                <a:solidFill>
                  <a:schemeClr val="tx2"/>
                </a:solidFill>
              </a:rPr>
              <a:t>Eponges</a:t>
            </a:r>
          </a:p>
        </p:txBody>
      </p:sp>
      <p:sp>
        <p:nvSpPr>
          <p:cNvPr id="58" name="AutoShape 25">
            <a:extLst>
              <a:ext uri="{FF2B5EF4-FFF2-40B4-BE49-F238E27FC236}">
                <a16:creationId xmlns:a16="http://schemas.microsoft.com/office/drawing/2014/main" id="{6D0569C2-BC53-4332-8C1D-696B285CD5F4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193853" y="2168003"/>
            <a:ext cx="380093" cy="205200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59" name="Text Box 26">
            <a:extLst>
              <a:ext uri="{FF2B5EF4-FFF2-40B4-BE49-F238E27FC236}">
                <a16:creationId xmlns:a16="http://schemas.microsoft.com/office/drawing/2014/main" id="{9F2389BA-F0A4-4976-81F1-112D941A8D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6567" y="3053237"/>
            <a:ext cx="1728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ts val="400"/>
              </a:spcBef>
            </a:pPr>
            <a:r>
              <a:rPr lang="fr-FR" altLang="fr-FR" sz="1400" dirty="0">
                <a:solidFill>
                  <a:schemeClr val="tx2"/>
                </a:solidFill>
              </a:rPr>
              <a:t>Refusion sous Vide</a:t>
            </a:r>
          </a:p>
        </p:txBody>
      </p:sp>
      <p:grpSp>
        <p:nvGrpSpPr>
          <p:cNvPr id="60" name="Arrow3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02AB0F-2697-4C5A-998C-C3655CB18931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5280423" y="2715161"/>
            <a:ext cx="206952" cy="180000"/>
            <a:chOff x="1412032" y="2732632"/>
            <a:chExt cx="1016496" cy="884112"/>
          </a:xfrm>
          <a:solidFill>
            <a:srgbClr val="1BAE8F"/>
          </a:solidFill>
        </p:grpSpPr>
        <p:sp>
          <p:nvSpPr>
            <p:cNvPr id="61" name="Chevron 177">
              <a:extLst>
                <a:ext uri="{FF2B5EF4-FFF2-40B4-BE49-F238E27FC236}">
                  <a16:creationId xmlns:a16="http://schemas.microsoft.com/office/drawing/2014/main" id="{CF8C9825-A7A9-4A36-B721-0559539E8AA9}"/>
                </a:ext>
              </a:extLst>
            </p:cNvPr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chemeClr val="accent5">
                <a:lumMod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Chevron 178">
              <a:extLst>
                <a:ext uri="{FF2B5EF4-FFF2-40B4-BE49-F238E27FC236}">
                  <a16:creationId xmlns:a16="http://schemas.microsoft.com/office/drawing/2014/main" id="{E7D13452-D29A-4716-946E-BE931A3B4464}"/>
                </a:ext>
              </a:extLst>
            </p:cNvPr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chemeClr val="accent5">
                <a:lumMod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3" name="AutoShape 25">
            <a:extLst>
              <a:ext uri="{FF2B5EF4-FFF2-40B4-BE49-F238E27FC236}">
                <a16:creationId xmlns:a16="http://schemas.microsoft.com/office/drawing/2014/main" id="{5580A040-F525-4440-83A1-AE8C678C4850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193853" y="2903390"/>
            <a:ext cx="380093" cy="205200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44" name="Text Box 26">
            <a:extLst>
              <a:ext uri="{FF2B5EF4-FFF2-40B4-BE49-F238E27FC236}">
                <a16:creationId xmlns:a16="http://schemas.microsoft.com/office/drawing/2014/main" id="{822F6C6C-E7F5-4EC7-BAD2-35059E980D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99916" y="3788624"/>
            <a:ext cx="1728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ts val="400"/>
              </a:spcBef>
            </a:pPr>
            <a:r>
              <a:rPr lang="fr-FR" altLang="fr-FR" sz="1400" dirty="0">
                <a:solidFill>
                  <a:schemeClr val="tx2"/>
                </a:solidFill>
              </a:rPr>
              <a:t>Refusion sous Vide</a:t>
            </a:r>
          </a:p>
        </p:txBody>
      </p:sp>
      <p:grpSp>
        <p:nvGrpSpPr>
          <p:cNvPr id="45" name="Arrow3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BB132E-49A9-4766-9558-7BBC6EC94299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5280423" y="3499456"/>
            <a:ext cx="206952" cy="180000"/>
            <a:chOff x="1412032" y="2732632"/>
            <a:chExt cx="1016496" cy="884112"/>
          </a:xfrm>
          <a:solidFill>
            <a:srgbClr val="1BAE8F"/>
          </a:solidFill>
        </p:grpSpPr>
        <p:sp>
          <p:nvSpPr>
            <p:cNvPr id="46" name="Chevron 177">
              <a:extLst>
                <a:ext uri="{FF2B5EF4-FFF2-40B4-BE49-F238E27FC236}">
                  <a16:creationId xmlns:a16="http://schemas.microsoft.com/office/drawing/2014/main" id="{DD60AB4B-3084-44D8-A6ED-66F7EAAD8D16}"/>
                </a:ext>
              </a:extLst>
            </p:cNvPr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chemeClr val="accent5">
                <a:lumMod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Chevron 178">
              <a:extLst>
                <a:ext uri="{FF2B5EF4-FFF2-40B4-BE49-F238E27FC236}">
                  <a16:creationId xmlns:a16="http://schemas.microsoft.com/office/drawing/2014/main" id="{48D66F54-DF73-4B83-9174-31CBA3F1B981}"/>
                </a:ext>
              </a:extLst>
            </p:cNvPr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chemeClr val="accent5">
                <a:lumMod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4470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2C6249F-B10F-4F17-9BA2-9B9456EC3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D16614F-17FA-47B2-8718-3BD886A4A9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F6B9E1A-0A7D-4CAE-BC7D-0EAE8CF4B3D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D2283F6-AF40-45B6-B80C-FA1EA9CE17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9EA9CF0-CF65-4F4C-BDCC-56E10DA714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4</a:t>
            </a:fld>
            <a:endParaRPr lang="fr-FR" dirty="0"/>
          </a:p>
        </p:txBody>
      </p:sp>
      <p:graphicFrame>
        <p:nvGraphicFramePr>
          <p:cNvPr id="8" name="Graphique 7">
            <a:extLst>
              <a:ext uri="{FF2B5EF4-FFF2-40B4-BE49-F238E27FC236}">
                <a16:creationId xmlns:a16="http://schemas.microsoft.com/office/drawing/2014/main" id="{B7F13108-8026-4055-8847-0B6A16B7C1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507849"/>
              </p:ext>
            </p:extLst>
          </p:nvPr>
        </p:nvGraphicFramePr>
        <p:xfrm>
          <a:off x="1107503" y="1952881"/>
          <a:ext cx="5680996" cy="3212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ZoneTexte 1">
            <a:extLst>
              <a:ext uri="{FF2B5EF4-FFF2-40B4-BE49-F238E27FC236}">
                <a16:creationId xmlns:a16="http://schemas.microsoft.com/office/drawing/2014/main" id="{5C09DDA8-4AC4-46BC-90DC-FF99D3BECC4E}"/>
              </a:ext>
            </a:extLst>
          </p:cNvPr>
          <p:cNvSpPr txBox="1"/>
          <p:nvPr/>
        </p:nvSpPr>
        <p:spPr>
          <a:xfrm>
            <a:off x="5969001" y="4094989"/>
            <a:ext cx="7758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fr-FR" sz="800" dirty="0" err="1">
                <a:solidFill>
                  <a:schemeClr val="tx2"/>
                </a:solidFill>
              </a:rPr>
              <a:t>Sponges</a:t>
            </a:r>
            <a:endParaRPr lang="fr-FR" sz="800" dirty="0">
              <a:solidFill>
                <a:schemeClr val="tx2"/>
              </a:solidFill>
            </a:endParaRPr>
          </a:p>
        </p:txBody>
      </p:sp>
      <p:sp>
        <p:nvSpPr>
          <p:cNvPr id="10" name="ZoneTexte 1">
            <a:extLst>
              <a:ext uri="{FF2B5EF4-FFF2-40B4-BE49-F238E27FC236}">
                <a16:creationId xmlns:a16="http://schemas.microsoft.com/office/drawing/2014/main" id="{FAAE77F7-654D-4AEF-9DDC-139283762CA4}"/>
              </a:ext>
            </a:extLst>
          </p:cNvPr>
          <p:cNvSpPr txBox="1"/>
          <p:nvPr/>
        </p:nvSpPr>
        <p:spPr>
          <a:xfrm>
            <a:off x="5969001" y="4495813"/>
            <a:ext cx="11618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fr-FR" sz="800" dirty="0" err="1">
                <a:solidFill>
                  <a:schemeClr val="accent2"/>
                </a:solidFill>
              </a:rPr>
              <a:t>FerroTi</a:t>
            </a:r>
            <a:r>
              <a:rPr lang="fr-FR" sz="800" dirty="0">
                <a:solidFill>
                  <a:schemeClr val="accent2"/>
                </a:solidFill>
              </a:rPr>
              <a:t> </a:t>
            </a:r>
            <a:r>
              <a:rPr lang="fr-FR" sz="800" dirty="0" err="1">
                <a:solidFill>
                  <a:schemeClr val="accent2"/>
                </a:solidFill>
              </a:rPr>
              <a:t>scraps</a:t>
            </a:r>
            <a:endParaRPr lang="fr-FR" sz="800" dirty="0">
              <a:solidFill>
                <a:schemeClr val="accent2"/>
              </a:solidFill>
            </a:endParaRPr>
          </a:p>
        </p:txBody>
      </p:sp>
      <p:sp>
        <p:nvSpPr>
          <p:cNvPr id="11" name="ZoneTexte 1">
            <a:extLst>
              <a:ext uri="{FF2B5EF4-FFF2-40B4-BE49-F238E27FC236}">
                <a16:creationId xmlns:a16="http://schemas.microsoft.com/office/drawing/2014/main" id="{CD9B2A23-C306-4B42-9498-F0BED649CEC8}"/>
              </a:ext>
            </a:extLst>
          </p:cNvPr>
          <p:cNvSpPr txBox="1"/>
          <p:nvPr/>
        </p:nvSpPr>
        <p:spPr>
          <a:xfrm>
            <a:off x="5969001" y="4347170"/>
            <a:ext cx="7758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fr-FR" sz="800" dirty="0" err="1">
                <a:solidFill>
                  <a:srgbClr val="92D050"/>
                </a:solidFill>
              </a:rPr>
              <a:t>Scraps</a:t>
            </a:r>
            <a:endParaRPr lang="fr-FR" sz="800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413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7B63B09-5879-49BF-894D-528689F44A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ED9C3D4-2B59-423B-9863-1A52D06B37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D3E49F5-E997-42F7-BF42-0A6C0E17B9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AF3F52A-E5A7-46C4-81DB-E77696BD5C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27AFA28-F661-4A3C-BC0B-E9A4889527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5</a:t>
            </a:fld>
            <a:endParaRPr lang="fr-FR" dirty="0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4F473F94-8E19-43AF-93BB-77984B2DDB66}"/>
              </a:ext>
            </a:extLst>
          </p:cNvPr>
          <p:cNvGrpSpPr/>
          <p:nvPr/>
        </p:nvGrpSpPr>
        <p:grpSpPr>
          <a:xfrm>
            <a:off x="1158270" y="1413282"/>
            <a:ext cx="6827459" cy="4343639"/>
            <a:chOff x="978250" y="1617324"/>
            <a:chExt cx="6827459" cy="4343639"/>
          </a:xfrm>
        </p:grpSpPr>
        <p:grpSp>
          <p:nvGrpSpPr>
            <p:cNvPr id="9" name="POWER_USER_DATA_MAP" descr="{&quot;IsGrandientColor&quot;:true,&quot;GradientColor&quot;:&quot;#D9D9D9&quot;,&quot;IsRangesColor&quot;:false,&quot;RangesSettings&quot;:[{&quot;RangeColorHexa&quot;:&quot;#FBF315&quot;,&quot;ComparisonValue&quot;:1.0,&quot;RangeOperator&quot;:1,&quot;RangeComparison&quot;:0},{&quot;RangeColorHexa&quot;:&quot;#FA6414&quot;,&quot;ComparisonValue&quot;:1.0,&quot;RangeOperator&quot;:1,&quot;RangeComparison&quot;:0}],&quot;RangeName&quot;:&quot;POWER_USER_EXCEL_MAP_870EF0D5_BE18_4792_B113_A9B6181FC60B&quot;,&quot;Version&quot;:&quot;1.6.1144.0&quot;}">
              <a:extLst>
                <a:ext uri="{FF2B5EF4-FFF2-40B4-BE49-F238E27FC236}">
                  <a16:creationId xmlns:a16="http://schemas.microsoft.com/office/drawing/2014/main" id="{26096526-80F7-46B8-A9C0-9124A807795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78250" y="1838036"/>
              <a:ext cx="6827459" cy="4122927"/>
              <a:chOff x="618837" y="1676786"/>
              <a:chExt cx="7906326" cy="4774427"/>
            </a:xfrm>
          </p:grpSpPr>
          <p:grpSp>
            <p:nvGrpSpPr>
              <p:cNvPr id="24" name="World_continents_1">
                <a:extLst>
                  <a:ext uri="{FF2B5EF4-FFF2-40B4-BE49-F238E27FC236}">
                    <a16:creationId xmlns:a16="http://schemas.microsoft.com/office/drawing/2014/main" id="{4FD16D4C-B50D-4DEB-88C0-86824400EFC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18837" y="1676786"/>
                <a:ext cx="7906326" cy="4774427"/>
                <a:chOff x="1892976" y="1278125"/>
                <a:chExt cx="7906326" cy="4774427"/>
              </a:xfrm>
            </p:grpSpPr>
            <p:grpSp>
              <p:nvGrpSpPr>
                <p:cNvPr id="26" name="World_continents">
                  <a:extLst>
                    <a:ext uri="{FF2B5EF4-FFF2-40B4-BE49-F238E27FC236}">
                      <a16:creationId xmlns:a16="http://schemas.microsoft.com/office/drawing/2014/main" id="{68261D64-1EC5-43D7-A9E4-CA9FB163DC5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18800" y="1278125"/>
                  <a:ext cx="7380502" cy="4774427"/>
                  <a:chOff x="2418800" y="1278125"/>
                  <a:chExt cx="7380502" cy="4774427"/>
                </a:xfrm>
              </p:grpSpPr>
              <p:grpSp>
                <p:nvGrpSpPr>
                  <p:cNvPr id="52" name="Map">
                    <a:extLst>
                      <a:ext uri="{FF2B5EF4-FFF2-40B4-BE49-F238E27FC236}">
                        <a16:creationId xmlns:a16="http://schemas.microsoft.com/office/drawing/2014/main" id="{E191EB21-256A-46C0-B242-E9EC6261C278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2418800" y="1278125"/>
                    <a:ext cx="7380502" cy="4774427"/>
                    <a:chOff x="1691" y="0"/>
                    <a:chExt cx="6188" cy="4003"/>
                  </a:xfrm>
                </p:grpSpPr>
                <p:sp>
                  <p:nvSpPr>
                    <p:cNvPr id="60" name="South America" descr="{&quot;Key&quot;:&quot;south america&quot;,&quot;Name&quot;:&quot;South America&quot;,&quot;Value&quot;:1.0,&quot;Formula&quot;:&quot;&quot;,&quot;Text&quot;:&quot;&quot;,&quot;OfficeApplication&quot;:1,&quot;HasValue&quot;:true}">
                      <a:extLst>
                        <a:ext uri="{FF2B5EF4-FFF2-40B4-BE49-F238E27FC236}">
                          <a16:creationId xmlns:a16="http://schemas.microsoft.com/office/drawing/2014/main" id="{B5B097D7-8CA8-4E7F-ADD7-00E779F28325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3206" y="2635"/>
                      <a:ext cx="803" cy="1368"/>
                    </a:xfrm>
                    <a:custGeom>
                      <a:avLst/>
                      <a:gdLst>
                        <a:gd name="T0" fmla="*/ 353 w 803"/>
                        <a:gd name="T1" fmla="*/ 40 h 1368"/>
                        <a:gd name="T2" fmla="*/ 369 w 803"/>
                        <a:gd name="T3" fmla="*/ 1242 h 1368"/>
                        <a:gd name="T4" fmla="*/ 402 w 803"/>
                        <a:gd name="T5" fmla="*/ 1259 h 1368"/>
                        <a:gd name="T6" fmla="*/ 795 w 803"/>
                        <a:gd name="T7" fmla="*/ 309 h 1368"/>
                        <a:gd name="T8" fmla="*/ 714 w 803"/>
                        <a:gd name="T9" fmla="*/ 264 h 1368"/>
                        <a:gd name="T10" fmla="*/ 628 w 803"/>
                        <a:gd name="T11" fmla="*/ 241 h 1368"/>
                        <a:gd name="T12" fmla="*/ 534 w 803"/>
                        <a:gd name="T13" fmla="*/ 215 h 1368"/>
                        <a:gd name="T14" fmla="*/ 522 w 803"/>
                        <a:gd name="T15" fmla="*/ 152 h 1368"/>
                        <a:gd name="T16" fmla="*/ 479 w 803"/>
                        <a:gd name="T17" fmla="*/ 118 h 1368"/>
                        <a:gd name="T18" fmla="*/ 418 w 803"/>
                        <a:gd name="T19" fmla="*/ 112 h 1368"/>
                        <a:gd name="T20" fmla="*/ 384 w 803"/>
                        <a:gd name="T21" fmla="*/ 77 h 1368"/>
                        <a:gd name="T22" fmla="*/ 341 w 803"/>
                        <a:gd name="T23" fmla="*/ 44 h 1368"/>
                        <a:gd name="T24" fmla="*/ 295 w 803"/>
                        <a:gd name="T25" fmla="*/ 31 h 1368"/>
                        <a:gd name="T26" fmla="*/ 243 w 803"/>
                        <a:gd name="T27" fmla="*/ 32 h 1368"/>
                        <a:gd name="T28" fmla="*/ 198 w 803"/>
                        <a:gd name="T29" fmla="*/ 5 h 1368"/>
                        <a:gd name="T30" fmla="*/ 178 w 803"/>
                        <a:gd name="T31" fmla="*/ 44 h 1368"/>
                        <a:gd name="T32" fmla="*/ 169 w 803"/>
                        <a:gd name="T33" fmla="*/ 26 h 1368"/>
                        <a:gd name="T34" fmla="*/ 172 w 803"/>
                        <a:gd name="T35" fmla="*/ 1 h 1368"/>
                        <a:gd name="T36" fmla="*/ 125 w 803"/>
                        <a:gd name="T37" fmla="*/ 20 h 1368"/>
                        <a:gd name="T38" fmla="*/ 99 w 803"/>
                        <a:gd name="T39" fmla="*/ 52 h 1368"/>
                        <a:gd name="T40" fmla="*/ 73 w 803"/>
                        <a:gd name="T41" fmla="*/ 78 h 1368"/>
                        <a:gd name="T42" fmla="*/ 71 w 803"/>
                        <a:gd name="T43" fmla="*/ 114 h 1368"/>
                        <a:gd name="T44" fmla="*/ 68 w 803"/>
                        <a:gd name="T45" fmla="*/ 157 h 1368"/>
                        <a:gd name="T46" fmla="*/ 42 w 803"/>
                        <a:gd name="T47" fmla="*/ 186 h 1368"/>
                        <a:gd name="T48" fmla="*/ 17 w 803"/>
                        <a:gd name="T49" fmla="*/ 220 h 1368"/>
                        <a:gd name="T50" fmla="*/ 19 w 803"/>
                        <a:gd name="T51" fmla="*/ 261 h 1368"/>
                        <a:gd name="T52" fmla="*/ 0 w 803"/>
                        <a:gd name="T53" fmla="*/ 295 h 1368"/>
                        <a:gd name="T54" fmla="*/ 34 w 803"/>
                        <a:gd name="T55" fmla="*/ 350 h 1368"/>
                        <a:gd name="T56" fmla="*/ 86 w 803"/>
                        <a:gd name="T57" fmla="*/ 453 h 1368"/>
                        <a:gd name="T58" fmla="*/ 172 w 803"/>
                        <a:gd name="T59" fmla="*/ 524 h 1368"/>
                        <a:gd name="T60" fmla="*/ 184 w 803"/>
                        <a:gd name="T61" fmla="*/ 670 h 1368"/>
                        <a:gd name="T62" fmla="*/ 172 w 803"/>
                        <a:gd name="T63" fmla="*/ 802 h 1368"/>
                        <a:gd name="T64" fmla="*/ 135 w 803"/>
                        <a:gd name="T65" fmla="*/ 925 h 1368"/>
                        <a:gd name="T66" fmla="*/ 132 w 803"/>
                        <a:gd name="T67" fmla="*/ 1041 h 1368"/>
                        <a:gd name="T68" fmla="*/ 115 w 803"/>
                        <a:gd name="T69" fmla="*/ 1099 h 1368"/>
                        <a:gd name="T70" fmla="*/ 102 w 803"/>
                        <a:gd name="T71" fmla="*/ 1217 h 1368"/>
                        <a:gd name="T72" fmla="*/ 152 w 803"/>
                        <a:gd name="T73" fmla="*/ 1307 h 1368"/>
                        <a:gd name="T74" fmla="*/ 206 w 803"/>
                        <a:gd name="T75" fmla="*/ 1271 h 1368"/>
                        <a:gd name="T76" fmla="*/ 218 w 803"/>
                        <a:gd name="T77" fmla="*/ 1214 h 1368"/>
                        <a:gd name="T78" fmla="*/ 255 w 803"/>
                        <a:gd name="T79" fmla="*/ 1131 h 1368"/>
                        <a:gd name="T80" fmla="*/ 277 w 803"/>
                        <a:gd name="T81" fmla="*/ 1068 h 1368"/>
                        <a:gd name="T82" fmla="*/ 295 w 803"/>
                        <a:gd name="T83" fmla="*/ 1018 h 1368"/>
                        <a:gd name="T84" fmla="*/ 321 w 803"/>
                        <a:gd name="T85" fmla="*/ 987 h 1368"/>
                        <a:gd name="T86" fmla="*/ 347 w 803"/>
                        <a:gd name="T87" fmla="*/ 939 h 1368"/>
                        <a:gd name="T88" fmla="*/ 413 w 803"/>
                        <a:gd name="T89" fmla="*/ 876 h 1368"/>
                        <a:gd name="T90" fmla="*/ 418 w 803"/>
                        <a:gd name="T91" fmla="*/ 844 h 1368"/>
                        <a:gd name="T92" fmla="*/ 482 w 803"/>
                        <a:gd name="T93" fmla="*/ 830 h 1368"/>
                        <a:gd name="T94" fmla="*/ 548 w 803"/>
                        <a:gd name="T95" fmla="*/ 738 h 1368"/>
                        <a:gd name="T96" fmla="*/ 566 w 803"/>
                        <a:gd name="T97" fmla="*/ 673 h 1368"/>
                        <a:gd name="T98" fmla="*/ 660 w 803"/>
                        <a:gd name="T99" fmla="*/ 619 h 1368"/>
                        <a:gd name="T100" fmla="*/ 717 w 803"/>
                        <a:gd name="T101" fmla="*/ 556 h 1368"/>
                        <a:gd name="T102" fmla="*/ 731 w 803"/>
                        <a:gd name="T103" fmla="*/ 453 h 1368"/>
                        <a:gd name="T104" fmla="*/ 787 w 803"/>
                        <a:gd name="T105" fmla="*/ 380 h 1368"/>
                        <a:gd name="T106" fmla="*/ 227 w 803"/>
                        <a:gd name="T107" fmla="*/ 1293 h 1368"/>
                        <a:gd name="T108" fmla="*/ 177 w 803"/>
                        <a:gd name="T109" fmla="*/ 1322 h 1368"/>
                        <a:gd name="T110" fmla="*/ 157 w 803"/>
                        <a:gd name="T111" fmla="*/ 1334 h 1368"/>
                        <a:gd name="T112" fmla="*/ 229 w 803"/>
                        <a:gd name="T113" fmla="*/ 1368 h 1368"/>
                        <a:gd name="T114" fmla="*/ 281 w 803"/>
                        <a:gd name="T115" fmla="*/ 1340 h 13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803" h="1368">
                          <a:moveTo>
                            <a:pt x="339" y="35"/>
                          </a:moveTo>
                          <a:lnTo>
                            <a:pt x="339" y="29"/>
                          </a:lnTo>
                          <a:lnTo>
                            <a:pt x="350" y="26"/>
                          </a:lnTo>
                          <a:lnTo>
                            <a:pt x="353" y="28"/>
                          </a:lnTo>
                          <a:lnTo>
                            <a:pt x="353" y="40"/>
                          </a:lnTo>
                          <a:lnTo>
                            <a:pt x="338" y="43"/>
                          </a:lnTo>
                          <a:lnTo>
                            <a:pt x="335" y="41"/>
                          </a:lnTo>
                          <a:lnTo>
                            <a:pt x="339" y="35"/>
                          </a:lnTo>
                          <a:close/>
                          <a:moveTo>
                            <a:pt x="384" y="1248"/>
                          </a:moveTo>
                          <a:lnTo>
                            <a:pt x="369" y="1242"/>
                          </a:lnTo>
                          <a:lnTo>
                            <a:pt x="349" y="1259"/>
                          </a:lnTo>
                          <a:lnTo>
                            <a:pt x="356" y="1271"/>
                          </a:lnTo>
                          <a:lnTo>
                            <a:pt x="372" y="1259"/>
                          </a:lnTo>
                          <a:lnTo>
                            <a:pt x="379" y="1268"/>
                          </a:lnTo>
                          <a:lnTo>
                            <a:pt x="402" y="1259"/>
                          </a:lnTo>
                          <a:lnTo>
                            <a:pt x="407" y="1250"/>
                          </a:lnTo>
                          <a:lnTo>
                            <a:pt x="393" y="1237"/>
                          </a:lnTo>
                          <a:lnTo>
                            <a:pt x="384" y="1248"/>
                          </a:lnTo>
                          <a:close/>
                          <a:moveTo>
                            <a:pt x="801" y="330"/>
                          </a:moveTo>
                          <a:lnTo>
                            <a:pt x="795" y="309"/>
                          </a:lnTo>
                          <a:lnTo>
                            <a:pt x="789" y="303"/>
                          </a:lnTo>
                          <a:lnTo>
                            <a:pt x="773" y="303"/>
                          </a:lnTo>
                          <a:lnTo>
                            <a:pt x="761" y="297"/>
                          </a:lnTo>
                          <a:lnTo>
                            <a:pt x="738" y="278"/>
                          </a:lnTo>
                          <a:lnTo>
                            <a:pt x="714" y="264"/>
                          </a:lnTo>
                          <a:lnTo>
                            <a:pt x="688" y="264"/>
                          </a:lnTo>
                          <a:lnTo>
                            <a:pt x="654" y="255"/>
                          </a:lnTo>
                          <a:lnTo>
                            <a:pt x="634" y="261"/>
                          </a:lnTo>
                          <a:lnTo>
                            <a:pt x="637" y="250"/>
                          </a:lnTo>
                          <a:lnTo>
                            <a:pt x="628" y="241"/>
                          </a:lnTo>
                          <a:lnTo>
                            <a:pt x="600" y="230"/>
                          </a:lnTo>
                          <a:lnTo>
                            <a:pt x="579" y="224"/>
                          </a:lnTo>
                          <a:lnTo>
                            <a:pt x="565" y="235"/>
                          </a:lnTo>
                          <a:lnTo>
                            <a:pt x="565" y="218"/>
                          </a:lnTo>
                          <a:lnTo>
                            <a:pt x="534" y="215"/>
                          </a:lnTo>
                          <a:lnTo>
                            <a:pt x="528" y="211"/>
                          </a:lnTo>
                          <a:lnTo>
                            <a:pt x="542" y="197"/>
                          </a:lnTo>
                          <a:lnTo>
                            <a:pt x="540" y="184"/>
                          </a:lnTo>
                          <a:lnTo>
                            <a:pt x="531" y="181"/>
                          </a:lnTo>
                          <a:lnTo>
                            <a:pt x="522" y="152"/>
                          </a:lnTo>
                          <a:lnTo>
                            <a:pt x="517" y="143"/>
                          </a:lnTo>
                          <a:lnTo>
                            <a:pt x="513" y="143"/>
                          </a:lnTo>
                          <a:lnTo>
                            <a:pt x="510" y="137"/>
                          </a:lnTo>
                          <a:lnTo>
                            <a:pt x="491" y="121"/>
                          </a:lnTo>
                          <a:lnTo>
                            <a:pt x="479" y="118"/>
                          </a:lnTo>
                          <a:lnTo>
                            <a:pt x="473" y="115"/>
                          </a:lnTo>
                          <a:lnTo>
                            <a:pt x="454" y="111"/>
                          </a:lnTo>
                          <a:lnTo>
                            <a:pt x="441" y="112"/>
                          </a:lnTo>
                          <a:lnTo>
                            <a:pt x="438" y="115"/>
                          </a:lnTo>
                          <a:lnTo>
                            <a:pt x="418" y="112"/>
                          </a:lnTo>
                          <a:lnTo>
                            <a:pt x="412" y="106"/>
                          </a:lnTo>
                          <a:lnTo>
                            <a:pt x="402" y="98"/>
                          </a:lnTo>
                          <a:lnTo>
                            <a:pt x="395" y="97"/>
                          </a:lnTo>
                          <a:lnTo>
                            <a:pt x="395" y="88"/>
                          </a:lnTo>
                          <a:lnTo>
                            <a:pt x="384" y="77"/>
                          </a:lnTo>
                          <a:lnTo>
                            <a:pt x="373" y="71"/>
                          </a:lnTo>
                          <a:lnTo>
                            <a:pt x="365" y="66"/>
                          </a:lnTo>
                          <a:lnTo>
                            <a:pt x="358" y="68"/>
                          </a:lnTo>
                          <a:lnTo>
                            <a:pt x="355" y="54"/>
                          </a:lnTo>
                          <a:lnTo>
                            <a:pt x="341" y="44"/>
                          </a:lnTo>
                          <a:lnTo>
                            <a:pt x="327" y="43"/>
                          </a:lnTo>
                          <a:lnTo>
                            <a:pt x="321" y="35"/>
                          </a:lnTo>
                          <a:lnTo>
                            <a:pt x="336" y="29"/>
                          </a:lnTo>
                          <a:lnTo>
                            <a:pt x="316" y="31"/>
                          </a:lnTo>
                          <a:lnTo>
                            <a:pt x="295" y="31"/>
                          </a:lnTo>
                          <a:lnTo>
                            <a:pt x="295" y="35"/>
                          </a:lnTo>
                          <a:lnTo>
                            <a:pt x="284" y="41"/>
                          </a:lnTo>
                          <a:lnTo>
                            <a:pt x="272" y="38"/>
                          </a:lnTo>
                          <a:lnTo>
                            <a:pt x="261" y="31"/>
                          </a:lnTo>
                          <a:lnTo>
                            <a:pt x="243" y="32"/>
                          </a:lnTo>
                          <a:lnTo>
                            <a:pt x="227" y="32"/>
                          </a:lnTo>
                          <a:lnTo>
                            <a:pt x="227" y="26"/>
                          </a:lnTo>
                          <a:lnTo>
                            <a:pt x="215" y="17"/>
                          </a:lnTo>
                          <a:lnTo>
                            <a:pt x="204" y="17"/>
                          </a:lnTo>
                          <a:lnTo>
                            <a:pt x="198" y="5"/>
                          </a:lnTo>
                          <a:lnTo>
                            <a:pt x="192" y="11"/>
                          </a:lnTo>
                          <a:lnTo>
                            <a:pt x="194" y="18"/>
                          </a:lnTo>
                          <a:lnTo>
                            <a:pt x="172" y="26"/>
                          </a:lnTo>
                          <a:lnTo>
                            <a:pt x="174" y="38"/>
                          </a:lnTo>
                          <a:lnTo>
                            <a:pt x="178" y="44"/>
                          </a:lnTo>
                          <a:lnTo>
                            <a:pt x="175" y="57"/>
                          </a:lnTo>
                          <a:lnTo>
                            <a:pt x="168" y="58"/>
                          </a:lnTo>
                          <a:lnTo>
                            <a:pt x="161" y="44"/>
                          </a:lnTo>
                          <a:lnTo>
                            <a:pt x="169" y="34"/>
                          </a:lnTo>
                          <a:lnTo>
                            <a:pt x="169" y="26"/>
                          </a:lnTo>
                          <a:lnTo>
                            <a:pt x="163" y="17"/>
                          </a:lnTo>
                          <a:lnTo>
                            <a:pt x="174" y="15"/>
                          </a:lnTo>
                          <a:lnTo>
                            <a:pt x="174" y="11"/>
                          </a:lnTo>
                          <a:lnTo>
                            <a:pt x="177" y="6"/>
                          </a:lnTo>
                          <a:lnTo>
                            <a:pt x="172" y="1"/>
                          </a:lnTo>
                          <a:lnTo>
                            <a:pt x="166" y="0"/>
                          </a:lnTo>
                          <a:lnTo>
                            <a:pt x="158" y="8"/>
                          </a:lnTo>
                          <a:lnTo>
                            <a:pt x="151" y="12"/>
                          </a:lnTo>
                          <a:lnTo>
                            <a:pt x="138" y="21"/>
                          </a:lnTo>
                          <a:lnTo>
                            <a:pt x="125" y="20"/>
                          </a:lnTo>
                          <a:lnTo>
                            <a:pt x="123" y="23"/>
                          </a:lnTo>
                          <a:lnTo>
                            <a:pt x="112" y="23"/>
                          </a:lnTo>
                          <a:lnTo>
                            <a:pt x="102" y="32"/>
                          </a:lnTo>
                          <a:lnTo>
                            <a:pt x="99" y="46"/>
                          </a:lnTo>
                          <a:lnTo>
                            <a:pt x="99" y="52"/>
                          </a:lnTo>
                          <a:lnTo>
                            <a:pt x="92" y="54"/>
                          </a:lnTo>
                          <a:lnTo>
                            <a:pt x="79" y="66"/>
                          </a:lnTo>
                          <a:lnTo>
                            <a:pt x="69" y="66"/>
                          </a:lnTo>
                          <a:lnTo>
                            <a:pt x="68" y="68"/>
                          </a:lnTo>
                          <a:lnTo>
                            <a:pt x="73" y="78"/>
                          </a:lnTo>
                          <a:lnTo>
                            <a:pt x="69" y="83"/>
                          </a:lnTo>
                          <a:lnTo>
                            <a:pt x="63" y="81"/>
                          </a:lnTo>
                          <a:lnTo>
                            <a:pt x="62" y="91"/>
                          </a:lnTo>
                          <a:lnTo>
                            <a:pt x="68" y="100"/>
                          </a:lnTo>
                          <a:lnTo>
                            <a:pt x="71" y="114"/>
                          </a:lnTo>
                          <a:lnTo>
                            <a:pt x="66" y="118"/>
                          </a:lnTo>
                          <a:lnTo>
                            <a:pt x="71" y="135"/>
                          </a:lnTo>
                          <a:lnTo>
                            <a:pt x="68" y="144"/>
                          </a:lnTo>
                          <a:lnTo>
                            <a:pt x="74" y="149"/>
                          </a:lnTo>
                          <a:lnTo>
                            <a:pt x="68" y="157"/>
                          </a:lnTo>
                          <a:lnTo>
                            <a:pt x="60" y="167"/>
                          </a:lnTo>
                          <a:lnTo>
                            <a:pt x="51" y="169"/>
                          </a:lnTo>
                          <a:lnTo>
                            <a:pt x="48" y="175"/>
                          </a:lnTo>
                          <a:lnTo>
                            <a:pt x="48" y="184"/>
                          </a:lnTo>
                          <a:lnTo>
                            <a:pt x="42" y="186"/>
                          </a:lnTo>
                          <a:lnTo>
                            <a:pt x="45" y="191"/>
                          </a:lnTo>
                          <a:lnTo>
                            <a:pt x="33" y="198"/>
                          </a:lnTo>
                          <a:lnTo>
                            <a:pt x="23" y="201"/>
                          </a:lnTo>
                          <a:lnTo>
                            <a:pt x="23" y="209"/>
                          </a:lnTo>
                          <a:lnTo>
                            <a:pt x="17" y="220"/>
                          </a:lnTo>
                          <a:lnTo>
                            <a:pt x="14" y="230"/>
                          </a:lnTo>
                          <a:lnTo>
                            <a:pt x="8" y="232"/>
                          </a:lnTo>
                          <a:lnTo>
                            <a:pt x="11" y="247"/>
                          </a:lnTo>
                          <a:lnTo>
                            <a:pt x="8" y="254"/>
                          </a:lnTo>
                          <a:lnTo>
                            <a:pt x="19" y="261"/>
                          </a:lnTo>
                          <a:lnTo>
                            <a:pt x="25" y="252"/>
                          </a:lnTo>
                          <a:lnTo>
                            <a:pt x="28" y="260"/>
                          </a:lnTo>
                          <a:lnTo>
                            <a:pt x="19" y="274"/>
                          </a:lnTo>
                          <a:lnTo>
                            <a:pt x="5" y="284"/>
                          </a:lnTo>
                          <a:lnTo>
                            <a:pt x="0" y="295"/>
                          </a:lnTo>
                          <a:lnTo>
                            <a:pt x="8" y="312"/>
                          </a:lnTo>
                          <a:lnTo>
                            <a:pt x="3" y="320"/>
                          </a:lnTo>
                          <a:lnTo>
                            <a:pt x="16" y="327"/>
                          </a:lnTo>
                          <a:lnTo>
                            <a:pt x="28" y="338"/>
                          </a:lnTo>
                          <a:lnTo>
                            <a:pt x="34" y="350"/>
                          </a:lnTo>
                          <a:lnTo>
                            <a:pt x="42" y="358"/>
                          </a:lnTo>
                          <a:lnTo>
                            <a:pt x="57" y="393"/>
                          </a:lnTo>
                          <a:lnTo>
                            <a:pt x="74" y="426"/>
                          </a:lnTo>
                          <a:lnTo>
                            <a:pt x="89" y="449"/>
                          </a:lnTo>
                          <a:lnTo>
                            <a:pt x="86" y="453"/>
                          </a:lnTo>
                          <a:lnTo>
                            <a:pt x="92" y="469"/>
                          </a:lnTo>
                          <a:lnTo>
                            <a:pt x="106" y="480"/>
                          </a:lnTo>
                          <a:lnTo>
                            <a:pt x="137" y="498"/>
                          </a:lnTo>
                          <a:lnTo>
                            <a:pt x="171" y="516"/>
                          </a:lnTo>
                          <a:lnTo>
                            <a:pt x="172" y="524"/>
                          </a:lnTo>
                          <a:lnTo>
                            <a:pt x="191" y="535"/>
                          </a:lnTo>
                          <a:lnTo>
                            <a:pt x="194" y="559"/>
                          </a:lnTo>
                          <a:lnTo>
                            <a:pt x="195" y="590"/>
                          </a:lnTo>
                          <a:lnTo>
                            <a:pt x="189" y="632"/>
                          </a:lnTo>
                          <a:lnTo>
                            <a:pt x="184" y="670"/>
                          </a:lnTo>
                          <a:lnTo>
                            <a:pt x="181" y="707"/>
                          </a:lnTo>
                          <a:lnTo>
                            <a:pt x="171" y="732"/>
                          </a:lnTo>
                          <a:lnTo>
                            <a:pt x="172" y="756"/>
                          </a:lnTo>
                          <a:lnTo>
                            <a:pt x="168" y="772"/>
                          </a:lnTo>
                          <a:lnTo>
                            <a:pt x="172" y="802"/>
                          </a:lnTo>
                          <a:lnTo>
                            <a:pt x="165" y="833"/>
                          </a:lnTo>
                          <a:lnTo>
                            <a:pt x="152" y="867"/>
                          </a:lnTo>
                          <a:lnTo>
                            <a:pt x="142" y="901"/>
                          </a:lnTo>
                          <a:lnTo>
                            <a:pt x="135" y="901"/>
                          </a:lnTo>
                          <a:lnTo>
                            <a:pt x="135" y="925"/>
                          </a:lnTo>
                          <a:lnTo>
                            <a:pt x="142" y="947"/>
                          </a:lnTo>
                          <a:lnTo>
                            <a:pt x="134" y="962"/>
                          </a:lnTo>
                          <a:lnTo>
                            <a:pt x="128" y="1005"/>
                          </a:lnTo>
                          <a:lnTo>
                            <a:pt x="122" y="1038"/>
                          </a:lnTo>
                          <a:lnTo>
                            <a:pt x="132" y="1041"/>
                          </a:lnTo>
                          <a:lnTo>
                            <a:pt x="138" y="1011"/>
                          </a:lnTo>
                          <a:lnTo>
                            <a:pt x="149" y="1018"/>
                          </a:lnTo>
                          <a:lnTo>
                            <a:pt x="140" y="1067"/>
                          </a:lnTo>
                          <a:lnTo>
                            <a:pt x="122" y="1059"/>
                          </a:lnTo>
                          <a:lnTo>
                            <a:pt x="115" y="1099"/>
                          </a:lnTo>
                          <a:lnTo>
                            <a:pt x="100" y="1121"/>
                          </a:lnTo>
                          <a:lnTo>
                            <a:pt x="126" y="1128"/>
                          </a:lnTo>
                          <a:lnTo>
                            <a:pt x="108" y="1148"/>
                          </a:lnTo>
                          <a:lnTo>
                            <a:pt x="100" y="1173"/>
                          </a:lnTo>
                          <a:lnTo>
                            <a:pt x="102" y="1217"/>
                          </a:lnTo>
                          <a:lnTo>
                            <a:pt x="111" y="1236"/>
                          </a:lnTo>
                          <a:lnTo>
                            <a:pt x="106" y="1253"/>
                          </a:lnTo>
                          <a:lnTo>
                            <a:pt x="111" y="1270"/>
                          </a:lnTo>
                          <a:lnTo>
                            <a:pt x="132" y="1287"/>
                          </a:lnTo>
                          <a:lnTo>
                            <a:pt x="152" y="1307"/>
                          </a:lnTo>
                          <a:lnTo>
                            <a:pt x="172" y="1316"/>
                          </a:lnTo>
                          <a:lnTo>
                            <a:pt x="180" y="1314"/>
                          </a:lnTo>
                          <a:lnTo>
                            <a:pt x="181" y="1288"/>
                          </a:lnTo>
                          <a:lnTo>
                            <a:pt x="198" y="1277"/>
                          </a:lnTo>
                          <a:lnTo>
                            <a:pt x="206" y="1271"/>
                          </a:lnTo>
                          <a:lnTo>
                            <a:pt x="221" y="1271"/>
                          </a:lnTo>
                          <a:lnTo>
                            <a:pt x="229" y="1273"/>
                          </a:lnTo>
                          <a:lnTo>
                            <a:pt x="217" y="1256"/>
                          </a:lnTo>
                          <a:lnTo>
                            <a:pt x="211" y="1228"/>
                          </a:lnTo>
                          <a:lnTo>
                            <a:pt x="218" y="1214"/>
                          </a:lnTo>
                          <a:lnTo>
                            <a:pt x="234" y="1204"/>
                          </a:lnTo>
                          <a:lnTo>
                            <a:pt x="246" y="1173"/>
                          </a:lnTo>
                          <a:lnTo>
                            <a:pt x="266" y="1159"/>
                          </a:lnTo>
                          <a:lnTo>
                            <a:pt x="272" y="1136"/>
                          </a:lnTo>
                          <a:lnTo>
                            <a:pt x="255" y="1131"/>
                          </a:lnTo>
                          <a:lnTo>
                            <a:pt x="238" y="1113"/>
                          </a:lnTo>
                          <a:lnTo>
                            <a:pt x="243" y="1094"/>
                          </a:lnTo>
                          <a:lnTo>
                            <a:pt x="257" y="1081"/>
                          </a:lnTo>
                          <a:lnTo>
                            <a:pt x="273" y="1081"/>
                          </a:lnTo>
                          <a:lnTo>
                            <a:pt x="277" y="1068"/>
                          </a:lnTo>
                          <a:lnTo>
                            <a:pt x="280" y="1044"/>
                          </a:lnTo>
                          <a:lnTo>
                            <a:pt x="293" y="1030"/>
                          </a:lnTo>
                          <a:lnTo>
                            <a:pt x="309" y="1022"/>
                          </a:lnTo>
                          <a:lnTo>
                            <a:pt x="304" y="1010"/>
                          </a:lnTo>
                          <a:lnTo>
                            <a:pt x="295" y="1018"/>
                          </a:lnTo>
                          <a:lnTo>
                            <a:pt x="283" y="1010"/>
                          </a:lnTo>
                          <a:lnTo>
                            <a:pt x="280" y="988"/>
                          </a:lnTo>
                          <a:lnTo>
                            <a:pt x="287" y="982"/>
                          </a:lnTo>
                          <a:lnTo>
                            <a:pt x="304" y="990"/>
                          </a:lnTo>
                          <a:lnTo>
                            <a:pt x="321" y="987"/>
                          </a:lnTo>
                          <a:lnTo>
                            <a:pt x="332" y="979"/>
                          </a:lnTo>
                          <a:lnTo>
                            <a:pt x="329" y="967"/>
                          </a:lnTo>
                          <a:lnTo>
                            <a:pt x="332" y="951"/>
                          </a:lnTo>
                          <a:lnTo>
                            <a:pt x="329" y="938"/>
                          </a:lnTo>
                          <a:lnTo>
                            <a:pt x="347" y="939"/>
                          </a:lnTo>
                          <a:lnTo>
                            <a:pt x="381" y="935"/>
                          </a:lnTo>
                          <a:lnTo>
                            <a:pt x="407" y="924"/>
                          </a:lnTo>
                          <a:lnTo>
                            <a:pt x="424" y="896"/>
                          </a:lnTo>
                          <a:lnTo>
                            <a:pt x="424" y="885"/>
                          </a:lnTo>
                          <a:lnTo>
                            <a:pt x="413" y="876"/>
                          </a:lnTo>
                          <a:lnTo>
                            <a:pt x="416" y="861"/>
                          </a:lnTo>
                          <a:lnTo>
                            <a:pt x="395" y="844"/>
                          </a:lnTo>
                          <a:lnTo>
                            <a:pt x="395" y="833"/>
                          </a:lnTo>
                          <a:lnTo>
                            <a:pt x="405" y="844"/>
                          </a:lnTo>
                          <a:lnTo>
                            <a:pt x="418" y="844"/>
                          </a:lnTo>
                          <a:lnTo>
                            <a:pt x="433" y="853"/>
                          </a:lnTo>
                          <a:lnTo>
                            <a:pt x="442" y="850"/>
                          </a:lnTo>
                          <a:lnTo>
                            <a:pt x="456" y="855"/>
                          </a:lnTo>
                          <a:lnTo>
                            <a:pt x="474" y="842"/>
                          </a:lnTo>
                          <a:lnTo>
                            <a:pt x="482" y="830"/>
                          </a:lnTo>
                          <a:lnTo>
                            <a:pt x="494" y="818"/>
                          </a:lnTo>
                          <a:lnTo>
                            <a:pt x="502" y="799"/>
                          </a:lnTo>
                          <a:lnTo>
                            <a:pt x="513" y="789"/>
                          </a:lnTo>
                          <a:lnTo>
                            <a:pt x="528" y="773"/>
                          </a:lnTo>
                          <a:lnTo>
                            <a:pt x="548" y="738"/>
                          </a:lnTo>
                          <a:lnTo>
                            <a:pt x="559" y="727"/>
                          </a:lnTo>
                          <a:lnTo>
                            <a:pt x="563" y="718"/>
                          </a:lnTo>
                          <a:lnTo>
                            <a:pt x="566" y="698"/>
                          </a:lnTo>
                          <a:lnTo>
                            <a:pt x="563" y="689"/>
                          </a:lnTo>
                          <a:lnTo>
                            <a:pt x="566" y="673"/>
                          </a:lnTo>
                          <a:lnTo>
                            <a:pt x="580" y="655"/>
                          </a:lnTo>
                          <a:lnTo>
                            <a:pt x="602" y="639"/>
                          </a:lnTo>
                          <a:lnTo>
                            <a:pt x="620" y="635"/>
                          </a:lnTo>
                          <a:lnTo>
                            <a:pt x="632" y="626"/>
                          </a:lnTo>
                          <a:lnTo>
                            <a:pt x="660" y="619"/>
                          </a:lnTo>
                          <a:lnTo>
                            <a:pt x="678" y="619"/>
                          </a:lnTo>
                          <a:lnTo>
                            <a:pt x="681" y="607"/>
                          </a:lnTo>
                          <a:lnTo>
                            <a:pt x="697" y="599"/>
                          </a:lnTo>
                          <a:lnTo>
                            <a:pt x="698" y="581"/>
                          </a:lnTo>
                          <a:lnTo>
                            <a:pt x="717" y="556"/>
                          </a:lnTo>
                          <a:lnTo>
                            <a:pt x="720" y="533"/>
                          </a:lnTo>
                          <a:lnTo>
                            <a:pt x="724" y="526"/>
                          </a:lnTo>
                          <a:lnTo>
                            <a:pt x="727" y="513"/>
                          </a:lnTo>
                          <a:lnTo>
                            <a:pt x="732" y="486"/>
                          </a:lnTo>
                          <a:lnTo>
                            <a:pt x="731" y="453"/>
                          </a:lnTo>
                          <a:lnTo>
                            <a:pt x="735" y="440"/>
                          </a:lnTo>
                          <a:lnTo>
                            <a:pt x="740" y="440"/>
                          </a:lnTo>
                          <a:lnTo>
                            <a:pt x="752" y="424"/>
                          </a:lnTo>
                          <a:lnTo>
                            <a:pt x="763" y="404"/>
                          </a:lnTo>
                          <a:lnTo>
                            <a:pt x="787" y="380"/>
                          </a:lnTo>
                          <a:lnTo>
                            <a:pt x="796" y="369"/>
                          </a:lnTo>
                          <a:lnTo>
                            <a:pt x="803" y="341"/>
                          </a:lnTo>
                          <a:lnTo>
                            <a:pt x="801" y="330"/>
                          </a:lnTo>
                          <a:close/>
                          <a:moveTo>
                            <a:pt x="235" y="1316"/>
                          </a:moveTo>
                          <a:lnTo>
                            <a:pt x="227" y="1293"/>
                          </a:lnTo>
                          <a:lnTo>
                            <a:pt x="220" y="1280"/>
                          </a:lnTo>
                          <a:lnTo>
                            <a:pt x="208" y="1277"/>
                          </a:lnTo>
                          <a:lnTo>
                            <a:pt x="192" y="1288"/>
                          </a:lnTo>
                          <a:lnTo>
                            <a:pt x="186" y="1308"/>
                          </a:lnTo>
                          <a:lnTo>
                            <a:pt x="177" y="1322"/>
                          </a:lnTo>
                          <a:lnTo>
                            <a:pt x="155" y="1311"/>
                          </a:lnTo>
                          <a:lnTo>
                            <a:pt x="131" y="1293"/>
                          </a:lnTo>
                          <a:lnTo>
                            <a:pt x="117" y="1287"/>
                          </a:lnTo>
                          <a:lnTo>
                            <a:pt x="140" y="1319"/>
                          </a:lnTo>
                          <a:lnTo>
                            <a:pt x="157" y="1334"/>
                          </a:lnTo>
                          <a:lnTo>
                            <a:pt x="180" y="1351"/>
                          </a:lnTo>
                          <a:lnTo>
                            <a:pt x="197" y="1356"/>
                          </a:lnTo>
                          <a:lnTo>
                            <a:pt x="211" y="1365"/>
                          </a:lnTo>
                          <a:lnTo>
                            <a:pt x="220" y="1367"/>
                          </a:lnTo>
                          <a:lnTo>
                            <a:pt x="229" y="1368"/>
                          </a:lnTo>
                          <a:lnTo>
                            <a:pt x="243" y="1359"/>
                          </a:lnTo>
                          <a:lnTo>
                            <a:pt x="249" y="1347"/>
                          </a:lnTo>
                          <a:lnTo>
                            <a:pt x="258" y="1357"/>
                          </a:lnTo>
                          <a:lnTo>
                            <a:pt x="273" y="1356"/>
                          </a:lnTo>
                          <a:lnTo>
                            <a:pt x="281" y="1340"/>
                          </a:lnTo>
                          <a:lnTo>
                            <a:pt x="258" y="1333"/>
                          </a:lnTo>
                          <a:lnTo>
                            <a:pt x="235" y="1316"/>
                          </a:lnTo>
                          <a:close/>
                        </a:path>
                      </a:pathLst>
                    </a:custGeom>
                    <a:solidFill>
                      <a:srgbClr val="D9D9D9"/>
                    </a:solidFill>
                    <a:ln w="4763" cap="flat">
                      <a:solidFill>
                        <a:srgbClr val="FFFFFF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endParaRPr lang="en-GB" sz="1000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1" name="North America" descr="{&quot;Key&quot;:&quot;north america&quot;,&quot;Name&quot;:&quot;North America&quot;,&quot;Value&quot;:1.0,&quot;Formula&quot;:&quot;&quot;,&quot;Text&quot;:&quot;&quot;,&quot;OfficeApplication&quot;:1,&quot;HasValue&quot;:true}">
                      <a:extLst>
                        <a:ext uri="{FF2B5EF4-FFF2-40B4-BE49-F238E27FC236}">
                          <a16:creationId xmlns:a16="http://schemas.microsoft.com/office/drawing/2014/main" id="{970964BC-963D-4FEA-AA28-97C81AE64D56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691" y="0"/>
                      <a:ext cx="2706" cy="2726"/>
                    </a:xfrm>
                    <a:custGeom>
                      <a:avLst/>
                      <a:gdLst>
                        <a:gd name="T0" fmla="*/ 1683 w 2706"/>
                        <a:gd name="T1" fmla="*/ 2540 h 2726"/>
                        <a:gd name="T2" fmla="*/ 1581 w 2706"/>
                        <a:gd name="T3" fmla="*/ 2420 h 2726"/>
                        <a:gd name="T4" fmla="*/ 1515 w 2706"/>
                        <a:gd name="T5" fmla="*/ 2443 h 2726"/>
                        <a:gd name="T6" fmla="*/ 1578 w 2706"/>
                        <a:gd name="T7" fmla="*/ 2503 h 2726"/>
                        <a:gd name="T8" fmla="*/ 198 w 2706"/>
                        <a:gd name="T9" fmla="*/ 2469 h 2726"/>
                        <a:gd name="T10" fmla="*/ 221 w 2706"/>
                        <a:gd name="T11" fmla="*/ 2484 h 2726"/>
                        <a:gd name="T12" fmla="*/ 867 w 2706"/>
                        <a:gd name="T13" fmla="*/ 670 h 2726"/>
                        <a:gd name="T14" fmla="*/ 931 w 2706"/>
                        <a:gd name="T15" fmla="*/ 749 h 2726"/>
                        <a:gd name="T16" fmla="*/ 1971 w 2706"/>
                        <a:gd name="T17" fmla="*/ 1874 h 2726"/>
                        <a:gd name="T18" fmla="*/ 1996 w 2706"/>
                        <a:gd name="T19" fmla="*/ 1943 h 2726"/>
                        <a:gd name="T20" fmla="*/ 238 w 2706"/>
                        <a:gd name="T21" fmla="*/ 2520 h 2726"/>
                        <a:gd name="T22" fmla="*/ 2367 w 2706"/>
                        <a:gd name="T23" fmla="*/ 203 h 2726"/>
                        <a:gd name="T24" fmla="*/ 1792 w 2706"/>
                        <a:gd name="T25" fmla="*/ 474 h 2726"/>
                        <a:gd name="T26" fmla="*/ 2032 w 2706"/>
                        <a:gd name="T27" fmla="*/ 1111 h 2726"/>
                        <a:gd name="T28" fmla="*/ 2178 w 2706"/>
                        <a:gd name="T29" fmla="*/ 1516 h 2726"/>
                        <a:gd name="T30" fmla="*/ 2535 w 2706"/>
                        <a:gd name="T31" fmla="*/ 1064 h 2726"/>
                        <a:gd name="T32" fmla="*/ 2635 w 2706"/>
                        <a:gd name="T33" fmla="*/ 391 h 2726"/>
                        <a:gd name="T34" fmla="*/ 635 w 2706"/>
                        <a:gd name="T35" fmla="*/ 1771 h 2726"/>
                        <a:gd name="T36" fmla="*/ 1865 w 2706"/>
                        <a:gd name="T37" fmla="*/ 1977 h 2726"/>
                        <a:gd name="T38" fmla="*/ 1672 w 2706"/>
                        <a:gd name="T39" fmla="*/ 2071 h 2726"/>
                        <a:gd name="T40" fmla="*/ 1598 w 2706"/>
                        <a:gd name="T41" fmla="*/ 2129 h 2726"/>
                        <a:gd name="T42" fmla="*/ 1537 w 2706"/>
                        <a:gd name="T43" fmla="*/ 2392 h 2726"/>
                        <a:gd name="T44" fmla="*/ 1377 w 2706"/>
                        <a:gd name="T45" fmla="*/ 2327 h 2726"/>
                        <a:gd name="T46" fmla="*/ 1235 w 2706"/>
                        <a:gd name="T47" fmla="*/ 2464 h 2726"/>
                        <a:gd name="T48" fmla="*/ 1411 w 2706"/>
                        <a:gd name="T49" fmla="*/ 2509 h 2726"/>
                        <a:gd name="T50" fmla="*/ 1420 w 2706"/>
                        <a:gd name="T51" fmla="*/ 2576 h 2726"/>
                        <a:gd name="T52" fmla="*/ 1477 w 2706"/>
                        <a:gd name="T53" fmla="*/ 2649 h 2726"/>
                        <a:gd name="T54" fmla="*/ 1584 w 2706"/>
                        <a:gd name="T55" fmla="*/ 2718 h 2726"/>
                        <a:gd name="T56" fmla="*/ 1491 w 2706"/>
                        <a:gd name="T57" fmla="*/ 2707 h 2726"/>
                        <a:gd name="T58" fmla="*/ 1416 w 2706"/>
                        <a:gd name="T59" fmla="*/ 2635 h 2726"/>
                        <a:gd name="T60" fmla="*/ 1230 w 2706"/>
                        <a:gd name="T61" fmla="*/ 2570 h 2726"/>
                        <a:gd name="T62" fmla="*/ 1035 w 2706"/>
                        <a:gd name="T63" fmla="*/ 2380 h 2726"/>
                        <a:gd name="T64" fmla="*/ 982 w 2706"/>
                        <a:gd name="T65" fmla="*/ 2358 h 2726"/>
                        <a:gd name="T66" fmla="*/ 937 w 2706"/>
                        <a:gd name="T67" fmla="*/ 2355 h 2726"/>
                        <a:gd name="T68" fmla="*/ 801 w 2706"/>
                        <a:gd name="T69" fmla="*/ 2141 h 2726"/>
                        <a:gd name="T70" fmla="*/ 716 w 2706"/>
                        <a:gd name="T71" fmla="*/ 1792 h 2726"/>
                        <a:gd name="T72" fmla="*/ 305 w 2706"/>
                        <a:gd name="T73" fmla="*/ 1583 h 2726"/>
                        <a:gd name="T74" fmla="*/ 132 w 2706"/>
                        <a:gd name="T75" fmla="*/ 1688 h 2726"/>
                        <a:gd name="T76" fmla="*/ 64 w 2706"/>
                        <a:gd name="T77" fmla="*/ 1480 h 2726"/>
                        <a:gd name="T78" fmla="*/ 121 w 2706"/>
                        <a:gd name="T79" fmla="*/ 1294 h 2726"/>
                        <a:gd name="T80" fmla="*/ 446 w 2706"/>
                        <a:gd name="T81" fmla="*/ 1135 h 2726"/>
                        <a:gd name="T82" fmla="*/ 933 w 2706"/>
                        <a:gd name="T83" fmla="*/ 1196 h 2726"/>
                        <a:gd name="T84" fmla="*/ 1295 w 2706"/>
                        <a:gd name="T85" fmla="*/ 1187 h 2726"/>
                        <a:gd name="T86" fmla="*/ 1515 w 2706"/>
                        <a:gd name="T87" fmla="*/ 1278 h 2726"/>
                        <a:gd name="T88" fmla="*/ 1453 w 2706"/>
                        <a:gd name="T89" fmla="*/ 1706 h 2726"/>
                        <a:gd name="T90" fmla="*/ 1661 w 2706"/>
                        <a:gd name="T91" fmla="*/ 1480 h 2726"/>
                        <a:gd name="T92" fmla="*/ 1933 w 2706"/>
                        <a:gd name="T93" fmla="*/ 1819 h 2726"/>
                        <a:gd name="T94" fmla="*/ 1215 w 2706"/>
                        <a:gd name="T95" fmla="*/ 1156 h 2726"/>
                        <a:gd name="T96" fmla="*/ 1546 w 2706"/>
                        <a:gd name="T97" fmla="*/ 1496 h 2726"/>
                        <a:gd name="T98" fmla="*/ 1063 w 2706"/>
                        <a:gd name="T99" fmla="*/ 1032 h 2726"/>
                        <a:gd name="T100" fmla="*/ 934 w 2706"/>
                        <a:gd name="T101" fmla="*/ 1178 h 2726"/>
                        <a:gd name="T102" fmla="*/ 1431 w 2706"/>
                        <a:gd name="T103" fmla="*/ 1407 h 2726"/>
                        <a:gd name="T104" fmla="*/ 1408 w 2706"/>
                        <a:gd name="T105" fmla="*/ 633 h 2726"/>
                        <a:gd name="T106" fmla="*/ 1749 w 2706"/>
                        <a:gd name="T107" fmla="*/ 355 h 2726"/>
                        <a:gd name="T108" fmla="*/ 1344 w 2706"/>
                        <a:gd name="T109" fmla="*/ 281 h 2726"/>
                        <a:gd name="T110" fmla="*/ 1439 w 2706"/>
                        <a:gd name="T111" fmla="*/ 930 h 2726"/>
                        <a:gd name="T112" fmla="*/ 1607 w 2706"/>
                        <a:gd name="T113" fmla="*/ 1354 h 2726"/>
                        <a:gd name="T114" fmla="*/ 1795 w 2706"/>
                        <a:gd name="T115" fmla="*/ 1350 h 2726"/>
                        <a:gd name="T116" fmla="*/ 1118 w 2706"/>
                        <a:gd name="T117" fmla="*/ 953 h 2726"/>
                        <a:gd name="T118" fmla="*/ 1525 w 2706"/>
                        <a:gd name="T119" fmla="*/ 958 h 2726"/>
                        <a:gd name="T120" fmla="*/ 1299 w 2706"/>
                        <a:gd name="T121" fmla="*/ 566 h 2726"/>
                        <a:gd name="T122" fmla="*/ 1273 w 2706"/>
                        <a:gd name="T123" fmla="*/ 925 h 2726"/>
                        <a:gd name="T124" fmla="*/ 1532 w 2706"/>
                        <a:gd name="T125" fmla="*/ 876 h 27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2706" h="2726">
                          <a:moveTo>
                            <a:pt x="1724" y="2518"/>
                          </a:moveTo>
                          <a:lnTo>
                            <a:pt x="1726" y="2512"/>
                          </a:lnTo>
                          <a:lnTo>
                            <a:pt x="1716" y="2512"/>
                          </a:lnTo>
                          <a:lnTo>
                            <a:pt x="1712" y="2506"/>
                          </a:lnTo>
                          <a:lnTo>
                            <a:pt x="1709" y="2506"/>
                          </a:lnTo>
                          <a:lnTo>
                            <a:pt x="1698" y="2501"/>
                          </a:lnTo>
                          <a:lnTo>
                            <a:pt x="1684" y="2501"/>
                          </a:lnTo>
                          <a:lnTo>
                            <a:pt x="1683" y="2504"/>
                          </a:lnTo>
                          <a:lnTo>
                            <a:pt x="1667" y="2501"/>
                          </a:lnTo>
                          <a:lnTo>
                            <a:pt x="1657" y="2501"/>
                          </a:lnTo>
                          <a:lnTo>
                            <a:pt x="1653" y="2506"/>
                          </a:lnTo>
                          <a:lnTo>
                            <a:pt x="1664" y="2509"/>
                          </a:lnTo>
                          <a:lnTo>
                            <a:pt x="1664" y="2517"/>
                          </a:lnTo>
                          <a:lnTo>
                            <a:pt x="1672" y="2524"/>
                          </a:lnTo>
                          <a:lnTo>
                            <a:pt x="1666" y="2527"/>
                          </a:lnTo>
                          <a:lnTo>
                            <a:pt x="1652" y="2526"/>
                          </a:lnTo>
                          <a:lnTo>
                            <a:pt x="1637" y="2524"/>
                          </a:lnTo>
                          <a:lnTo>
                            <a:pt x="1635" y="2530"/>
                          </a:lnTo>
                          <a:lnTo>
                            <a:pt x="1644" y="2535"/>
                          </a:lnTo>
                          <a:lnTo>
                            <a:pt x="1652" y="2532"/>
                          </a:lnTo>
                          <a:lnTo>
                            <a:pt x="1663" y="2533"/>
                          </a:lnTo>
                          <a:lnTo>
                            <a:pt x="1670" y="2532"/>
                          </a:lnTo>
                          <a:lnTo>
                            <a:pt x="1683" y="2535"/>
                          </a:lnTo>
                          <a:lnTo>
                            <a:pt x="1683" y="2540"/>
                          </a:lnTo>
                          <a:lnTo>
                            <a:pt x="1687" y="2543"/>
                          </a:lnTo>
                          <a:lnTo>
                            <a:pt x="1695" y="2530"/>
                          </a:lnTo>
                          <a:lnTo>
                            <a:pt x="1699" y="2527"/>
                          </a:lnTo>
                          <a:lnTo>
                            <a:pt x="1703" y="2532"/>
                          </a:lnTo>
                          <a:lnTo>
                            <a:pt x="1709" y="2532"/>
                          </a:lnTo>
                          <a:lnTo>
                            <a:pt x="1712" y="2527"/>
                          </a:lnTo>
                          <a:lnTo>
                            <a:pt x="1718" y="2529"/>
                          </a:lnTo>
                          <a:lnTo>
                            <a:pt x="1726" y="2529"/>
                          </a:lnTo>
                          <a:lnTo>
                            <a:pt x="1735" y="2532"/>
                          </a:lnTo>
                          <a:lnTo>
                            <a:pt x="1741" y="2524"/>
                          </a:lnTo>
                          <a:lnTo>
                            <a:pt x="1732" y="2518"/>
                          </a:lnTo>
                          <a:lnTo>
                            <a:pt x="1724" y="2518"/>
                          </a:lnTo>
                          <a:close/>
                          <a:moveTo>
                            <a:pt x="1566" y="2370"/>
                          </a:moveTo>
                          <a:lnTo>
                            <a:pt x="1557" y="2372"/>
                          </a:lnTo>
                          <a:lnTo>
                            <a:pt x="1558" y="2380"/>
                          </a:lnTo>
                          <a:lnTo>
                            <a:pt x="1577" y="2377"/>
                          </a:lnTo>
                          <a:lnTo>
                            <a:pt x="1577" y="2372"/>
                          </a:lnTo>
                          <a:lnTo>
                            <a:pt x="1566" y="2370"/>
                          </a:lnTo>
                          <a:close/>
                          <a:moveTo>
                            <a:pt x="1571" y="2403"/>
                          </a:moveTo>
                          <a:lnTo>
                            <a:pt x="1568" y="2415"/>
                          </a:lnTo>
                          <a:lnTo>
                            <a:pt x="1574" y="2420"/>
                          </a:lnTo>
                          <a:lnTo>
                            <a:pt x="1578" y="2430"/>
                          </a:lnTo>
                          <a:lnTo>
                            <a:pt x="1581" y="2430"/>
                          </a:lnTo>
                          <a:lnTo>
                            <a:pt x="1581" y="2420"/>
                          </a:lnTo>
                          <a:lnTo>
                            <a:pt x="1575" y="2404"/>
                          </a:lnTo>
                          <a:lnTo>
                            <a:pt x="1571" y="2403"/>
                          </a:lnTo>
                          <a:close/>
                          <a:moveTo>
                            <a:pt x="1776" y="2527"/>
                          </a:moveTo>
                          <a:lnTo>
                            <a:pt x="1761" y="2526"/>
                          </a:lnTo>
                          <a:lnTo>
                            <a:pt x="1759" y="2529"/>
                          </a:lnTo>
                          <a:lnTo>
                            <a:pt x="1761" y="2537"/>
                          </a:lnTo>
                          <a:lnTo>
                            <a:pt x="1770" y="2537"/>
                          </a:lnTo>
                          <a:lnTo>
                            <a:pt x="1784" y="2537"/>
                          </a:lnTo>
                          <a:lnTo>
                            <a:pt x="1787" y="2532"/>
                          </a:lnTo>
                          <a:lnTo>
                            <a:pt x="1784" y="2529"/>
                          </a:lnTo>
                          <a:lnTo>
                            <a:pt x="1776" y="2527"/>
                          </a:lnTo>
                          <a:close/>
                          <a:moveTo>
                            <a:pt x="1640" y="2495"/>
                          </a:moveTo>
                          <a:lnTo>
                            <a:pt x="1627" y="2487"/>
                          </a:lnTo>
                          <a:lnTo>
                            <a:pt x="1614" y="2486"/>
                          </a:lnTo>
                          <a:lnTo>
                            <a:pt x="1615" y="2481"/>
                          </a:lnTo>
                          <a:lnTo>
                            <a:pt x="1604" y="2477"/>
                          </a:lnTo>
                          <a:lnTo>
                            <a:pt x="1600" y="2478"/>
                          </a:lnTo>
                          <a:lnTo>
                            <a:pt x="1589" y="2469"/>
                          </a:lnTo>
                          <a:lnTo>
                            <a:pt x="1574" y="2458"/>
                          </a:lnTo>
                          <a:lnTo>
                            <a:pt x="1568" y="2454"/>
                          </a:lnTo>
                          <a:lnTo>
                            <a:pt x="1552" y="2455"/>
                          </a:lnTo>
                          <a:lnTo>
                            <a:pt x="1545" y="2449"/>
                          </a:lnTo>
                          <a:lnTo>
                            <a:pt x="1529" y="2443"/>
                          </a:lnTo>
                          <a:lnTo>
                            <a:pt x="1515" y="2443"/>
                          </a:lnTo>
                          <a:lnTo>
                            <a:pt x="1500" y="2441"/>
                          </a:lnTo>
                          <a:lnTo>
                            <a:pt x="1497" y="2443"/>
                          </a:lnTo>
                          <a:lnTo>
                            <a:pt x="1483" y="2444"/>
                          </a:lnTo>
                          <a:lnTo>
                            <a:pt x="1474" y="2449"/>
                          </a:lnTo>
                          <a:lnTo>
                            <a:pt x="1466" y="2452"/>
                          </a:lnTo>
                          <a:lnTo>
                            <a:pt x="1463" y="2460"/>
                          </a:lnTo>
                          <a:lnTo>
                            <a:pt x="1454" y="2464"/>
                          </a:lnTo>
                          <a:lnTo>
                            <a:pt x="1462" y="2466"/>
                          </a:lnTo>
                          <a:lnTo>
                            <a:pt x="1469" y="2464"/>
                          </a:lnTo>
                          <a:lnTo>
                            <a:pt x="1472" y="2460"/>
                          </a:lnTo>
                          <a:lnTo>
                            <a:pt x="1480" y="2460"/>
                          </a:lnTo>
                          <a:lnTo>
                            <a:pt x="1492" y="2450"/>
                          </a:lnTo>
                          <a:lnTo>
                            <a:pt x="1509" y="2450"/>
                          </a:lnTo>
                          <a:lnTo>
                            <a:pt x="1502" y="2455"/>
                          </a:lnTo>
                          <a:lnTo>
                            <a:pt x="1508" y="2460"/>
                          </a:lnTo>
                          <a:lnTo>
                            <a:pt x="1531" y="2463"/>
                          </a:lnTo>
                          <a:lnTo>
                            <a:pt x="1535" y="2466"/>
                          </a:lnTo>
                          <a:lnTo>
                            <a:pt x="1552" y="2470"/>
                          </a:lnTo>
                          <a:lnTo>
                            <a:pt x="1561" y="2470"/>
                          </a:lnTo>
                          <a:lnTo>
                            <a:pt x="1566" y="2481"/>
                          </a:lnTo>
                          <a:lnTo>
                            <a:pt x="1572" y="2486"/>
                          </a:lnTo>
                          <a:lnTo>
                            <a:pt x="1583" y="2487"/>
                          </a:lnTo>
                          <a:lnTo>
                            <a:pt x="1589" y="2492"/>
                          </a:lnTo>
                          <a:lnTo>
                            <a:pt x="1578" y="2503"/>
                          </a:lnTo>
                          <a:lnTo>
                            <a:pt x="1603" y="2500"/>
                          </a:lnTo>
                          <a:lnTo>
                            <a:pt x="1615" y="2501"/>
                          </a:lnTo>
                          <a:lnTo>
                            <a:pt x="1626" y="2501"/>
                          </a:lnTo>
                          <a:lnTo>
                            <a:pt x="1638" y="2498"/>
                          </a:lnTo>
                          <a:lnTo>
                            <a:pt x="1640" y="2495"/>
                          </a:lnTo>
                          <a:close/>
                          <a:moveTo>
                            <a:pt x="1594" y="2529"/>
                          </a:moveTo>
                          <a:lnTo>
                            <a:pt x="1581" y="2527"/>
                          </a:lnTo>
                          <a:lnTo>
                            <a:pt x="1577" y="2526"/>
                          </a:lnTo>
                          <a:lnTo>
                            <a:pt x="1571" y="2527"/>
                          </a:lnTo>
                          <a:lnTo>
                            <a:pt x="1568" y="2532"/>
                          </a:lnTo>
                          <a:lnTo>
                            <a:pt x="1578" y="2538"/>
                          </a:lnTo>
                          <a:lnTo>
                            <a:pt x="1588" y="2541"/>
                          </a:lnTo>
                          <a:lnTo>
                            <a:pt x="1592" y="2538"/>
                          </a:lnTo>
                          <a:lnTo>
                            <a:pt x="1604" y="2538"/>
                          </a:lnTo>
                          <a:lnTo>
                            <a:pt x="1603" y="2533"/>
                          </a:lnTo>
                          <a:lnTo>
                            <a:pt x="1594" y="2529"/>
                          </a:lnTo>
                          <a:close/>
                          <a:moveTo>
                            <a:pt x="1588" y="2390"/>
                          </a:moveTo>
                          <a:lnTo>
                            <a:pt x="1591" y="2377"/>
                          </a:lnTo>
                          <a:lnTo>
                            <a:pt x="1578" y="2367"/>
                          </a:lnTo>
                          <a:lnTo>
                            <a:pt x="1578" y="2370"/>
                          </a:lnTo>
                          <a:lnTo>
                            <a:pt x="1586" y="2378"/>
                          </a:lnTo>
                          <a:lnTo>
                            <a:pt x="1584" y="2387"/>
                          </a:lnTo>
                          <a:lnTo>
                            <a:pt x="1588" y="2390"/>
                          </a:lnTo>
                          <a:close/>
                          <a:moveTo>
                            <a:pt x="198" y="2469"/>
                          </a:moveTo>
                          <a:lnTo>
                            <a:pt x="193" y="2470"/>
                          </a:lnTo>
                          <a:lnTo>
                            <a:pt x="193" y="2472"/>
                          </a:lnTo>
                          <a:lnTo>
                            <a:pt x="196" y="2475"/>
                          </a:lnTo>
                          <a:lnTo>
                            <a:pt x="201" y="2477"/>
                          </a:lnTo>
                          <a:lnTo>
                            <a:pt x="202" y="2477"/>
                          </a:lnTo>
                          <a:lnTo>
                            <a:pt x="204" y="2475"/>
                          </a:lnTo>
                          <a:lnTo>
                            <a:pt x="199" y="2469"/>
                          </a:lnTo>
                          <a:lnTo>
                            <a:pt x="198" y="2469"/>
                          </a:lnTo>
                          <a:close/>
                          <a:moveTo>
                            <a:pt x="170" y="2458"/>
                          </a:moveTo>
                          <a:lnTo>
                            <a:pt x="167" y="2460"/>
                          </a:lnTo>
                          <a:lnTo>
                            <a:pt x="167" y="2461"/>
                          </a:lnTo>
                          <a:lnTo>
                            <a:pt x="173" y="2466"/>
                          </a:lnTo>
                          <a:lnTo>
                            <a:pt x="175" y="2463"/>
                          </a:lnTo>
                          <a:lnTo>
                            <a:pt x="175" y="2460"/>
                          </a:lnTo>
                          <a:lnTo>
                            <a:pt x="170" y="2458"/>
                          </a:lnTo>
                          <a:close/>
                          <a:moveTo>
                            <a:pt x="210" y="2480"/>
                          </a:moveTo>
                          <a:lnTo>
                            <a:pt x="219" y="2480"/>
                          </a:lnTo>
                          <a:lnTo>
                            <a:pt x="219" y="2478"/>
                          </a:lnTo>
                          <a:lnTo>
                            <a:pt x="210" y="2477"/>
                          </a:lnTo>
                          <a:lnTo>
                            <a:pt x="210" y="2480"/>
                          </a:lnTo>
                          <a:close/>
                          <a:moveTo>
                            <a:pt x="229" y="2483"/>
                          </a:moveTo>
                          <a:lnTo>
                            <a:pt x="222" y="2481"/>
                          </a:lnTo>
                          <a:lnTo>
                            <a:pt x="219" y="2483"/>
                          </a:lnTo>
                          <a:lnTo>
                            <a:pt x="221" y="2484"/>
                          </a:lnTo>
                          <a:lnTo>
                            <a:pt x="222" y="2486"/>
                          </a:lnTo>
                          <a:lnTo>
                            <a:pt x="225" y="2489"/>
                          </a:lnTo>
                          <a:lnTo>
                            <a:pt x="232" y="2487"/>
                          </a:lnTo>
                          <a:lnTo>
                            <a:pt x="232" y="2486"/>
                          </a:lnTo>
                          <a:lnTo>
                            <a:pt x="229" y="2483"/>
                          </a:lnTo>
                          <a:close/>
                          <a:moveTo>
                            <a:pt x="52" y="1540"/>
                          </a:moveTo>
                          <a:lnTo>
                            <a:pt x="35" y="1547"/>
                          </a:lnTo>
                          <a:lnTo>
                            <a:pt x="46" y="1556"/>
                          </a:lnTo>
                          <a:lnTo>
                            <a:pt x="57" y="1562"/>
                          </a:lnTo>
                          <a:lnTo>
                            <a:pt x="67" y="1557"/>
                          </a:lnTo>
                          <a:lnTo>
                            <a:pt x="66" y="1543"/>
                          </a:lnTo>
                          <a:lnTo>
                            <a:pt x="52" y="1540"/>
                          </a:lnTo>
                          <a:close/>
                          <a:moveTo>
                            <a:pt x="0" y="1447"/>
                          </a:moveTo>
                          <a:lnTo>
                            <a:pt x="12" y="1439"/>
                          </a:lnTo>
                          <a:lnTo>
                            <a:pt x="14" y="1434"/>
                          </a:lnTo>
                          <a:lnTo>
                            <a:pt x="0" y="1430"/>
                          </a:lnTo>
                          <a:lnTo>
                            <a:pt x="0" y="1447"/>
                          </a:lnTo>
                          <a:close/>
                          <a:moveTo>
                            <a:pt x="853" y="781"/>
                          </a:moveTo>
                          <a:lnTo>
                            <a:pt x="885" y="749"/>
                          </a:lnTo>
                          <a:lnTo>
                            <a:pt x="902" y="746"/>
                          </a:lnTo>
                          <a:lnTo>
                            <a:pt x="914" y="719"/>
                          </a:lnTo>
                          <a:lnTo>
                            <a:pt x="917" y="660"/>
                          </a:lnTo>
                          <a:lnTo>
                            <a:pt x="893" y="672"/>
                          </a:lnTo>
                          <a:lnTo>
                            <a:pt x="867" y="670"/>
                          </a:lnTo>
                          <a:lnTo>
                            <a:pt x="831" y="721"/>
                          </a:lnTo>
                          <a:lnTo>
                            <a:pt x="802" y="776"/>
                          </a:lnTo>
                          <a:lnTo>
                            <a:pt x="825" y="792"/>
                          </a:lnTo>
                          <a:lnTo>
                            <a:pt x="853" y="781"/>
                          </a:lnTo>
                          <a:close/>
                          <a:moveTo>
                            <a:pt x="891" y="838"/>
                          </a:moveTo>
                          <a:lnTo>
                            <a:pt x="916" y="850"/>
                          </a:lnTo>
                          <a:lnTo>
                            <a:pt x="992" y="842"/>
                          </a:lnTo>
                          <a:lnTo>
                            <a:pt x="957" y="872"/>
                          </a:lnTo>
                          <a:lnTo>
                            <a:pt x="959" y="892"/>
                          </a:lnTo>
                          <a:lnTo>
                            <a:pt x="985" y="892"/>
                          </a:lnTo>
                          <a:lnTo>
                            <a:pt x="1029" y="862"/>
                          </a:lnTo>
                          <a:lnTo>
                            <a:pt x="1087" y="853"/>
                          </a:lnTo>
                          <a:lnTo>
                            <a:pt x="1098" y="821"/>
                          </a:lnTo>
                          <a:lnTo>
                            <a:pt x="1095" y="786"/>
                          </a:lnTo>
                          <a:lnTo>
                            <a:pt x="1077" y="783"/>
                          </a:lnTo>
                          <a:lnTo>
                            <a:pt x="1061" y="795"/>
                          </a:lnTo>
                          <a:lnTo>
                            <a:pt x="1054" y="770"/>
                          </a:lnTo>
                          <a:lnTo>
                            <a:pt x="1049" y="735"/>
                          </a:lnTo>
                          <a:lnTo>
                            <a:pt x="1031" y="726"/>
                          </a:lnTo>
                          <a:lnTo>
                            <a:pt x="1015" y="753"/>
                          </a:lnTo>
                          <a:lnTo>
                            <a:pt x="1040" y="821"/>
                          </a:lnTo>
                          <a:lnTo>
                            <a:pt x="1009" y="816"/>
                          </a:lnTo>
                          <a:lnTo>
                            <a:pt x="979" y="773"/>
                          </a:lnTo>
                          <a:lnTo>
                            <a:pt x="931" y="749"/>
                          </a:lnTo>
                          <a:lnTo>
                            <a:pt x="914" y="770"/>
                          </a:lnTo>
                          <a:lnTo>
                            <a:pt x="891" y="838"/>
                          </a:lnTo>
                          <a:close/>
                          <a:moveTo>
                            <a:pt x="798" y="1095"/>
                          </a:moveTo>
                          <a:lnTo>
                            <a:pt x="844" y="1068"/>
                          </a:lnTo>
                          <a:lnTo>
                            <a:pt x="844" y="1045"/>
                          </a:lnTo>
                          <a:lnTo>
                            <a:pt x="865" y="1005"/>
                          </a:lnTo>
                          <a:lnTo>
                            <a:pt x="906" y="965"/>
                          </a:lnTo>
                          <a:lnTo>
                            <a:pt x="930" y="950"/>
                          </a:lnTo>
                          <a:lnTo>
                            <a:pt x="910" y="924"/>
                          </a:lnTo>
                          <a:lnTo>
                            <a:pt x="894" y="905"/>
                          </a:lnTo>
                          <a:lnTo>
                            <a:pt x="850" y="902"/>
                          </a:lnTo>
                          <a:lnTo>
                            <a:pt x="825" y="889"/>
                          </a:lnTo>
                          <a:lnTo>
                            <a:pt x="767" y="899"/>
                          </a:lnTo>
                          <a:lnTo>
                            <a:pt x="784" y="938"/>
                          </a:lnTo>
                          <a:lnTo>
                            <a:pt x="768" y="976"/>
                          </a:lnTo>
                          <a:lnTo>
                            <a:pt x="758" y="1019"/>
                          </a:lnTo>
                          <a:lnTo>
                            <a:pt x="750" y="1042"/>
                          </a:lnTo>
                          <a:lnTo>
                            <a:pt x="790" y="1072"/>
                          </a:lnTo>
                          <a:lnTo>
                            <a:pt x="798" y="1095"/>
                          </a:lnTo>
                          <a:close/>
                          <a:moveTo>
                            <a:pt x="2003" y="1891"/>
                          </a:moveTo>
                          <a:lnTo>
                            <a:pt x="1991" y="1895"/>
                          </a:lnTo>
                          <a:lnTo>
                            <a:pt x="1996" y="1875"/>
                          </a:lnTo>
                          <a:lnTo>
                            <a:pt x="1979" y="1868"/>
                          </a:lnTo>
                          <a:lnTo>
                            <a:pt x="1971" y="1874"/>
                          </a:lnTo>
                          <a:lnTo>
                            <a:pt x="1956" y="1868"/>
                          </a:lnTo>
                          <a:lnTo>
                            <a:pt x="1962" y="1859"/>
                          </a:lnTo>
                          <a:lnTo>
                            <a:pt x="1950" y="1852"/>
                          </a:lnTo>
                          <a:lnTo>
                            <a:pt x="1939" y="1862"/>
                          </a:lnTo>
                          <a:lnTo>
                            <a:pt x="1950" y="1837"/>
                          </a:lnTo>
                          <a:lnTo>
                            <a:pt x="1959" y="1820"/>
                          </a:lnTo>
                          <a:lnTo>
                            <a:pt x="1963" y="1812"/>
                          </a:lnTo>
                          <a:lnTo>
                            <a:pt x="1954" y="1812"/>
                          </a:lnTo>
                          <a:lnTo>
                            <a:pt x="1940" y="1822"/>
                          </a:lnTo>
                          <a:lnTo>
                            <a:pt x="1930" y="1837"/>
                          </a:lnTo>
                          <a:lnTo>
                            <a:pt x="1911" y="1880"/>
                          </a:lnTo>
                          <a:lnTo>
                            <a:pt x="1897" y="1895"/>
                          </a:lnTo>
                          <a:lnTo>
                            <a:pt x="1905" y="1902"/>
                          </a:lnTo>
                          <a:lnTo>
                            <a:pt x="1894" y="1911"/>
                          </a:lnTo>
                          <a:lnTo>
                            <a:pt x="1896" y="1919"/>
                          </a:lnTo>
                          <a:lnTo>
                            <a:pt x="1930" y="1920"/>
                          </a:lnTo>
                          <a:lnTo>
                            <a:pt x="1948" y="1919"/>
                          </a:lnTo>
                          <a:lnTo>
                            <a:pt x="1965" y="1925"/>
                          </a:lnTo>
                          <a:lnTo>
                            <a:pt x="1953" y="1935"/>
                          </a:lnTo>
                          <a:lnTo>
                            <a:pt x="1963" y="1937"/>
                          </a:lnTo>
                          <a:lnTo>
                            <a:pt x="1983" y="1915"/>
                          </a:lnTo>
                          <a:lnTo>
                            <a:pt x="1988" y="1919"/>
                          </a:lnTo>
                          <a:lnTo>
                            <a:pt x="1983" y="1939"/>
                          </a:lnTo>
                          <a:lnTo>
                            <a:pt x="1996" y="1943"/>
                          </a:lnTo>
                          <a:lnTo>
                            <a:pt x="2003" y="1943"/>
                          </a:lnTo>
                          <a:lnTo>
                            <a:pt x="2011" y="1920"/>
                          </a:lnTo>
                          <a:lnTo>
                            <a:pt x="2005" y="1905"/>
                          </a:lnTo>
                          <a:lnTo>
                            <a:pt x="2003" y="1891"/>
                          </a:lnTo>
                          <a:close/>
                          <a:moveTo>
                            <a:pt x="1821" y="1945"/>
                          </a:moveTo>
                          <a:lnTo>
                            <a:pt x="1815" y="1932"/>
                          </a:lnTo>
                          <a:lnTo>
                            <a:pt x="1808" y="1940"/>
                          </a:lnTo>
                          <a:lnTo>
                            <a:pt x="1813" y="1949"/>
                          </a:lnTo>
                          <a:lnTo>
                            <a:pt x="1834" y="1960"/>
                          </a:lnTo>
                          <a:lnTo>
                            <a:pt x="1841" y="1959"/>
                          </a:lnTo>
                          <a:lnTo>
                            <a:pt x="1850" y="1948"/>
                          </a:lnTo>
                          <a:lnTo>
                            <a:pt x="1833" y="1949"/>
                          </a:lnTo>
                          <a:lnTo>
                            <a:pt x="1821" y="1945"/>
                          </a:lnTo>
                          <a:close/>
                          <a:moveTo>
                            <a:pt x="245" y="2500"/>
                          </a:moveTo>
                          <a:lnTo>
                            <a:pt x="242" y="2498"/>
                          </a:lnTo>
                          <a:lnTo>
                            <a:pt x="236" y="2495"/>
                          </a:lnTo>
                          <a:lnTo>
                            <a:pt x="235" y="2495"/>
                          </a:lnTo>
                          <a:lnTo>
                            <a:pt x="233" y="2497"/>
                          </a:lnTo>
                          <a:lnTo>
                            <a:pt x="235" y="2500"/>
                          </a:lnTo>
                          <a:lnTo>
                            <a:pt x="232" y="2503"/>
                          </a:lnTo>
                          <a:lnTo>
                            <a:pt x="232" y="2504"/>
                          </a:lnTo>
                          <a:lnTo>
                            <a:pt x="233" y="2512"/>
                          </a:lnTo>
                          <a:lnTo>
                            <a:pt x="233" y="2517"/>
                          </a:lnTo>
                          <a:lnTo>
                            <a:pt x="238" y="2520"/>
                          </a:lnTo>
                          <a:lnTo>
                            <a:pt x="241" y="2517"/>
                          </a:lnTo>
                          <a:lnTo>
                            <a:pt x="245" y="2513"/>
                          </a:lnTo>
                          <a:lnTo>
                            <a:pt x="253" y="2509"/>
                          </a:lnTo>
                          <a:lnTo>
                            <a:pt x="253" y="2509"/>
                          </a:lnTo>
                          <a:lnTo>
                            <a:pt x="248" y="2503"/>
                          </a:lnTo>
                          <a:lnTo>
                            <a:pt x="245" y="2500"/>
                          </a:lnTo>
                          <a:close/>
                          <a:moveTo>
                            <a:pt x="1853" y="1875"/>
                          </a:moveTo>
                          <a:lnTo>
                            <a:pt x="1834" y="1863"/>
                          </a:lnTo>
                          <a:lnTo>
                            <a:pt x="1811" y="1857"/>
                          </a:lnTo>
                          <a:lnTo>
                            <a:pt x="1805" y="1860"/>
                          </a:lnTo>
                          <a:lnTo>
                            <a:pt x="1822" y="1872"/>
                          </a:lnTo>
                          <a:lnTo>
                            <a:pt x="1844" y="1880"/>
                          </a:lnTo>
                          <a:lnTo>
                            <a:pt x="1853" y="1880"/>
                          </a:lnTo>
                          <a:lnTo>
                            <a:pt x="1853" y="1875"/>
                          </a:lnTo>
                          <a:close/>
                          <a:moveTo>
                            <a:pt x="2696" y="263"/>
                          </a:moveTo>
                          <a:lnTo>
                            <a:pt x="2644" y="238"/>
                          </a:lnTo>
                          <a:lnTo>
                            <a:pt x="2562" y="286"/>
                          </a:lnTo>
                          <a:lnTo>
                            <a:pt x="2517" y="327"/>
                          </a:lnTo>
                          <a:lnTo>
                            <a:pt x="2535" y="260"/>
                          </a:lnTo>
                          <a:lnTo>
                            <a:pt x="2522" y="217"/>
                          </a:lnTo>
                          <a:lnTo>
                            <a:pt x="2488" y="254"/>
                          </a:lnTo>
                          <a:lnTo>
                            <a:pt x="2437" y="212"/>
                          </a:lnTo>
                          <a:lnTo>
                            <a:pt x="2376" y="226"/>
                          </a:lnTo>
                          <a:lnTo>
                            <a:pt x="2367" y="203"/>
                          </a:lnTo>
                          <a:lnTo>
                            <a:pt x="2460" y="191"/>
                          </a:lnTo>
                          <a:lnTo>
                            <a:pt x="2526" y="185"/>
                          </a:lnTo>
                          <a:lnTo>
                            <a:pt x="2557" y="134"/>
                          </a:lnTo>
                          <a:lnTo>
                            <a:pt x="2450" y="20"/>
                          </a:lnTo>
                          <a:lnTo>
                            <a:pt x="2311" y="0"/>
                          </a:lnTo>
                          <a:lnTo>
                            <a:pt x="2252" y="15"/>
                          </a:lnTo>
                          <a:lnTo>
                            <a:pt x="2230" y="69"/>
                          </a:lnTo>
                          <a:lnTo>
                            <a:pt x="2169" y="63"/>
                          </a:lnTo>
                          <a:lnTo>
                            <a:pt x="2112" y="148"/>
                          </a:lnTo>
                          <a:lnTo>
                            <a:pt x="2109" y="203"/>
                          </a:lnTo>
                          <a:lnTo>
                            <a:pt x="2150" y="269"/>
                          </a:lnTo>
                          <a:lnTo>
                            <a:pt x="2114" y="229"/>
                          </a:lnTo>
                          <a:lnTo>
                            <a:pt x="2091" y="220"/>
                          </a:lnTo>
                          <a:lnTo>
                            <a:pt x="2049" y="172"/>
                          </a:lnTo>
                          <a:lnTo>
                            <a:pt x="2003" y="241"/>
                          </a:lnTo>
                          <a:lnTo>
                            <a:pt x="1985" y="203"/>
                          </a:lnTo>
                          <a:lnTo>
                            <a:pt x="1931" y="205"/>
                          </a:lnTo>
                          <a:lnTo>
                            <a:pt x="1879" y="224"/>
                          </a:lnTo>
                          <a:lnTo>
                            <a:pt x="1838" y="257"/>
                          </a:lnTo>
                          <a:lnTo>
                            <a:pt x="1845" y="309"/>
                          </a:lnTo>
                          <a:lnTo>
                            <a:pt x="1821" y="321"/>
                          </a:lnTo>
                          <a:lnTo>
                            <a:pt x="1761" y="397"/>
                          </a:lnTo>
                          <a:lnTo>
                            <a:pt x="1746" y="438"/>
                          </a:lnTo>
                          <a:lnTo>
                            <a:pt x="1792" y="474"/>
                          </a:lnTo>
                          <a:lnTo>
                            <a:pt x="1785" y="507"/>
                          </a:lnTo>
                          <a:lnTo>
                            <a:pt x="1723" y="552"/>
                          </a:lnTo>
                          <a:lnTo>
                            <a:pt x="1658" y="593"/>
                          </a:lnTo>
                          <a:lnTo>
                            <a:pt x="1655" y="627"/>
                          </a:lnTo>
                          <a:lnTo>
                            <a:pt x="1693" y="660"/>
                          </a:lnTo>
                          <a:lnTo>
                            <a:pt x="1767" y="681"/>
                          </a:lnTo>
                          <a:lnTo>
                            <a:pt x="1733" y="686"/>
                          </a:lnTo>
                          <a:lnTo>
                            <a:pt x="1687" y="709"/>
                          </a:lnTo>
                          <a:lnTo>
                            <a:pt x="1718" y="756"/>
                          </a:lnTo>
                          <a:lnTo>
                            <a:pt x="1738" y="779"/>
                          </a:lnTo>
                          <a:lnTo>
                            <a:pt x="1779" y="775"/>
                          </a:lnTo>
                          <a:lnTo>
                            <a:pt x="1825" y="772"/>
                          </a:lnTo>
                          <a:lnTo>
                            <a:pt x="1862" y="776"/>
                          </a:lnTo>
                          <a:lnTo>
                            <a:pt x="1908" y="818"/>
                          </a:lnTo>
                          <a:lnTo>
                            <a:pt x="1908" y="846"/>
                          </a:lnTo>
                          <a:lnTo>
                            <a:pt x="1930" y="872"/>
                          </a:lnTo>
                          <a:lnTo>
                            <a:pt x="1951" y="939"/>
                          </a:lnTo>
                          <a:lnTo>
                            <a:pt x="1965" y="981"/>
                          </a:lnTo>
                          <a:lnTo>
                            <a:pt x="1974" y="1002"/>
                          </a:lnTo>
                          <a:lnTo>
                            <a:pt x="1956" y="1055"/>
                          </a:lnTo>
                          <a:lnTo>
                            <a:pt x="1969" y="1068"/>
                          </a:lnTo>
                          <a:lnTo>
                            <a:pt x="1986" y="1061"/>
                          </a:lnTo>
                          <a:lnTo>
                            <a:pt x="2002" y="1079"/>
                          </a:lnTo>
                          <a:lnTo>
                            <a:pt x="2032" y="1111"/>
                          </a:lnTo>
                          <a:lnTo>
                            <a:pt x="1997" y="1098"/>
                          </a:lnTo>
                          <a:lnTo>
                            <a:pt x="1980" y="1099"/>
                          </a:lnTo>
                          <a:lnTo>
                            <a:pt x="1974" y="1127"/>
                          </a:lnTo>
                          <a:lnTo>
                            <a:pt x="1976" y="1161"/>
                          </a:lnTo>
                          <a:lnTo>
                            <a:pt x="1997" y="1176"/>
                          </a:lnTo>
                          <a:lnTo>
                            <a:pt x="2012" y="1170"/>
                          </a:lnTo>
                          <a:lnTo>
                            <a:pt x="2022" y="1162"/>
                          </a:lnTo>
                          <a:lnTo>
                            <a:pt x="2042" y="1145"/>
                          </a:lnTo>
                          <a:lnTo>
                            <a:pt x="2037" y="1184"/>
                          </a:lnTo>
                          <a:lnTo>
                            <a:pt x="2031" y="1204"/>
                          </a:lnTo>
                          <a:lnTo>
                            <a:pt x="2005" y="1221"/>
                          </a:lnTo>
                          <a:lnTo>
                            <a:pt x="1988" y="1274"/>
                          </a:lnTo>
                          <a:lnTo>
                            <a:pt x="1999" y="1290"/>
                          </a:lnTo>
                          <a:lnTo>
                            <a:pt x="1992" y="1322"/>
                          </a:lnTo>
                          <a:lnTo>
                            <a:pt x="2017" y="1361"/>
                          </a:lnTo>
                          <a:lnTo>
                            <a:pt x="2019" y="1396"/>
                          </a:lnTo>
                          <a:lnTo>
                            <a:pt x="2028" y="1422"/>
                          </a:lnTo>
                          <a:lnTo>
                            <a:pt x="2057" y="1470"/>
                          </a:lnTo>
                          <a:lnTo>
                            <a:pt x="2069" y="1505"/>
                          </a:lnTo>
                          <a:lnTo>
                            <a:pt x="2086" y="1523"/>
                          </a:lnTo>
                          <a:lnTo>
                            <a:pt x="2120" y="1525"/>
                          </a:lnTo>
                          <a:lnTo>
                            <a:pt x="2146" y="1553"/>
                          </a:lnTo>
                          <a:lnTo>
                            <a:pt x="2170" y="1551"/>
                          </a:lnTo>
                          <a:lnTo>
                            <a:pt x="2178" y="1516"/>
                          </a:lnTo>
                          <a:lnTo>
                            <a:pt x="2186" y="1487"/>
                          </a:lnTo>
                          <a:lnTo>
                            <a:pt x="2180" y="1457"/>
                          </a:lnTo>
                          <a:lnTo>
                            <a:pt x="2207" y="1427"/>
                          </a:lnTo>
                          <a:lnTo>
                            <a:pt x="2216" y="1402"/>
                          </a:lnTo>
                          <a:lnTo>
                            <a:pt x="2216" y="1374"/>
                          </a:lnTo>
                          <a:lnTo>
                            <a:pt x="2232" y="1348"/>
                          </a:lnTo>
                          <a:lnTo>
                            <a:pt x="2256" y="1339"/>
                          </a:lnTo>
                          <a:lnTo>
                            <a:pt x="2279" y="1328"/>
                          </a:lnTo>
                          <a:lnTo>
                            <a:pt x="2290" y="1327"/>
                          </a:lnTo>
                          <a:lnTo>
                            <a:pt x="2327" y="1296"/>
                          </a:lnTo>
                          <a:lnTo>
                            <a:pt x="2351" y="1250"/>
                          </a:lnTo>
                          <a:lnTo>
                            <a:pt x="2370" y="1231"/>
                          </a:lnTo>
                          <a:lnTo>
                            <a:pt x="2388" y="1231"/>
                          </a:lnTo>
                          <a:lnTo>
                            <a:pt x="2439" y="1216"/>
                          </a:lnTo>
                          <a:lnTo>
                            <a:pt x="2485" y="1178"/>
                          </a:lnTo>
                          <a:lnTo>
                            <a:pt x="2531" y="1135"/>
                          </a:lnTo>
                          <a:lnTo>
                            <a:pt x="2508" y="1131"/>
                          </a:lnTo>
                          <a:lnTo>
                            <a:pt x="2462" y="1130"/>
                          </a:lnTo>
                          <a:lnTo>
                            <a:pt x="2482" y="1102"/>
                          </a:lnTo>
                          <a:lnTo>
                            <a:pt x="2477" y="1067"/>
                          </a:lnTo>
                          <a:lnTo>
                            <a:pt x="2497" y="1098"/>
                          </a:lnTo>
                          <a:lnTo>
                            <a:pt x="2511" y="1118"/>
                          </a:lnTo>
                          <a:lnTo>
                            <a:pt x="2542" y="1107"/>
                          </a:lnTo>
                          <a:lnTo>
                            <a:pt x="2535" y="1064"/>
                          </a:lnTo>
                          <a:lnTo>
                            <a:pt x="2512" y="1030"/>
                          </a:lnTo>
                          <a:lnTo>
                            <a:pt x="2489" y="1016"/>
                          </a:lnTo>
                          <a:lnTo>
                            <a:pt x="2499" y="1001"/>
                          </a:lnTo>
                          <a:lnTo>
                            <a:pt x="2532" y="1025"/>
                          </a:lnTo>
                          <a:lnTo>
                            <a:pt x="2532" y="999"/>
                          </a:lnTo>
                          <a:lnTo>
                            <a:pt x="2511" y="959"/>
                          </a:lnTo>
                          <a:lnTo>
                            <a:pt x="2534" y="959"/>
                          </a:lnTo>
                          <a:lnTo>
                            <a:pt x="2558" y="950"/>
                          </a:lnTo>
                          <a:lnTo>
                            <a:pt x="2565" y="929"/>
                          </a:lnTo>
                          <a:lnTo>
                            <a:pt x="2545" y="902"/>
                          </a:lnTo>
                          <a:lnTo>
                            <a:pt x="2583" y="898"/>
                          </a:lnTo>
                          <a:lnTo>
                            <a:pt x="2560" y="842"/>
                          </a:lnTo>
                          <a:lnTo>
                            <a:pt x="2578" y="836"/>
                          </a:lnTo>
                          <a:lnTo>
                            <a:pt x="2575" y="776"/>
                          </a:lnTo>
                          <a:lnTo>
                            <a:pt x="2543" y="738"/>
                          </a:lnTo>
                          <a:lnTo>
                            <a:pt x="2571" y="715"/>
                          </a:lnTo>
                          <a:lnTo>
                            <a:pt x="2598" y="712"/>
                          </a:lnTo>
                          <a:lnTo>
                            <a:pt x="2577" y="660"/>
                          </a:lnTo>
                          <a:lnTo>
                            <a:pt x="2577" y="566"/>
                          </a:lnTo>
                          <a:lnTo>
                            <a:pt x="2591" y="507"/>
                          </a:lnTo>
                          <a:lnTo>
                            <a:pt x="2611" y="437"/>
                          </a:lnTo>
                          <a:lnTo>
                            <a:pt x="2571" y="432"/>
                          </a:lnTo>
                          <a:lnTo>
                            <a:pt x="2626" y="414"/>
                          </a:lnTo>
                          <a:lnTo>
                            <a:pt x="2635" y="391"/>
                          </a:lnTo>
                          <a:lnTo>
                            <a:pt x="2706" y="312"/>
                          </a:lnTo>
                          <a:lnTo>
                            <a:pt x="2696" y="263"/>
                          </a:lnTo>
                          <a:close/>
                          <a:moveTo>
                            <a:pt x="1020" y="655"/>
                          </a:moveTo>
                          <a:lnTo>
                            <a:pt x="1026" y="630"/>
                          </a:lnTo>
                          <a:lnTo>
                            <a:pt x="1002" y="618"/>
                          </a:lnTo>
                          <a:lnTo>
                            <a:pt x="977" y="626"/>
                          </a:lnTo>
                          <a:lnTo>
                            <a:pt x="963" y="652"/>
                          </a:lnTo>
                          <a:lnTo>
                            <a:pt x="988" y="678"/>
                          </a:lnTo>
                          <a:lnTo>
                            <a:pt x="1020" y="655"/>
                          </a:lnTo>
                          <a:close/>
                          <a:moveTo>
                            <a:pt x="279" y="1622"/>
                          </a:moveTo>
                          <a:lnTo>
                            <a:pt x="270" y="1626"/>
                          </a:lnTo>
                          <a:lnTo>
                            <a:pt x="255" y="1639"/>
                          </a:lnTo>
                          <a:lnTo>
                            <a:pt x="258" y="1653"/>
                          </a:lnTo>
                          <a:lnTo>
                            <a:pt x="267" y="1662"/>
                          </a:lnTo>
                          <a:lnTo>
                            <a:pt x="284" y="1650"/>
                          </a:lnTo>
                          <a:lnTo>
                            <a:pt x="299" y="1634"/>
                          </a:lnTo>
                          <a:lnTo>
                            <a:pt x="291" y="1625"/>
                          </a:lnTo>
                          <a:lnTo>
                            <a:pt x="279" y="1622"/>
                          </a:lnTo>
                          <a:close/>
                          <a:moveTo>
                            <a:pt x="649" y="1740"/>
                          </a:moveTo>
                          <a:lnTo>
                            <a:pt x="633" y="1743"/>
                          </a:lnTo>
                          <a:lnTo>
                            <a:pt x="624" y="1739"/>
                          </a:lnTo>
                          <a:lnTo>
                            <a:pt x="624" y="1748"/>
                          </a:lnTo>
                          <a:lnTo>
                            <a:pt x="627" y="1762"/>
                          </a:lnTo>
                          <a:lnTo>
                            <a:pt x="635" y="1771"/>
                          </a:lnTo>
                          <a:lnTo>
                            <a:pt x="643" y="1783"/>
                          </a:lnTo>
                          <a:lnTo>
                            <a:pt x="652" y="1797"/>
                          </a:lnTo>
                          <a:lnTo>
                            <a:pt x="660" y="1797"/>
                          </a:lnTo>
                          <a:lnTo>
                            <a:pt x="644" y="1774"/>
                          </a:lnTo>
                          <a:lnTo>
                            <a:pt x="649" y="1740"/>
                          </a:lnTo>
                          <a:close/>
                          <a:moveTo>
                            <a:pt x="791" y="1895"/>
                          </a:moveTo>
                          <a:lnTo>
                            <a:pt x="784" y="1882"/>
                          </a:lnTo>
                          <a:lnTo>
                            <a:pt x="767" y="1869"/>
                          </a:lnTo>
                          <a:lnTo>
                            <a:pt x="758" y="1857"/>
                          </a:lnTo>
                          <a:lnTo>
                            <a:pt x="753" y="1848"/>
                          </a:lnTo>
                          <a:lnTo>
                            <a:pt x="736" y="1845"/>
                          </a:lnTo>
                          <a:lnTo>
                            <a:pt x="726" y="1842"/>
                          </a:lnTo>
                          <a:lnTo>
                            <a:pt x="707" y="1836"/>
                          </a:lnTo>
                          <a:lnTo>
                            <a:pt x="706" y="1842"/>
                          </a:lnTo>
                          <a:lnTo>
                            <a:pt x="713" y="1857"/>
                          </a:lnTo>
                          <a:lnTo>
                            <a:pt x="730" y="1862"/>
                          </a:lnTo>
                          <a:lnTo>
                            <a:pt x="733" y="1869"/>
                          </a:lnTo>
                          <a:lnTo>
                            <a:pt x="749" y="1879"/>
                          </a:lnTo>
                          <a:lnTo>
                            <a:pt x="755" y="1888"/>
                          </a:lnTo>
                          <a:lnTo>
                            <a:pt x="782" y="1899"/>
                          </a:lnTo>
                          <a:lnTo>
                            <a:pt x="791" y="1895"/>
                          </a:lnTo>
                          <a:close/>
                          <a:moveTo>
                            <a:pt x="1876" y="1952"/>
                          </a:moveTo>
                          <a:lnTo>
                            <a:pt x="1887" y="1962"/>
                          </a:lnTo>
                          <a:lnTo>
                            <a:pt x="1865" y="1977"/>
                          </a:lnTo>
                          <a:lnTo>
                            <a:pt x="1828" y="1991"/>
                          </a:lnTo>
                          <a:lnTo>
                            <a:pt x="1810" y="2002"/>
                          </a:lnTo>
                          <a:lnTo>
                            <a:pt x="1792" y="2018"/>
                          </a:lnTo>
                          <a:lnTo>
                            <a:pt x="1778" y="2017"/>
                          </a:lnTo>
                          <a:lnTo>
                            <a:pt x="1778" y="1997"/>
                          </a:lnTo>
                          <a:lnTo>
                            <a:pt x="1807" y="1977"/>
                          </a:lnTo>
                          <a:lnTo>
                            <a:pt x="1779" y="1977"/>
                          </a:lnTo>
                          <a:lnTo>
                            <a:pt x="1761" y="1980"/>
                          </a:lnTo>
                          <a:lnTo>
                            <a:pt x="1764" y="1988"/>
                          </a:lnTo>
                          <a:lnTo>
                            <a:pt x="1746" y="2000"/>
                          </a:lnTo>
                          <a:lnTo>
                            <a:pt x="1727" y="2008"/>
                          </a:lnTo>
                          <a:lnTo>
                            <a:pt x="1710" y="2015"/>
                          </a:lnTo>
                          <a:lnTo>
                            <a:pt x="1701" y="2029"/>
                          </a:lnTo>
                          <a:lnTo>
                            <a:pt x="1698" y="2034"/>
                          </a:lnTo>
                          <a:lnTo>
                            <a:pt x="1698" y="2046"/>
                          </a:lnTo>
                          <a:lnTo>
                            <a:pt x="1703" y="2058"/>
                          </a:lnTo>
                          <a:lnTo>
                            <a:pt x="1710" y="2060"/>
                          </a:lnTo>
                          <a:lnTo>
                            <a:pt x="1709" y="2051"/>
                          </a:lnTo>
                          <a:lnTo>
                            <a:pt x="1713" y="2057"/>
                          </a:lnTo>
                          <a:lnTo>
                            <a:pt x="1712" y="2063"/>
                          </a:lnTo>
                          <a:lnTo>
                            <a:pt x="1701" y="2066"/>
                          </a:lnTo>
                          <a:lnTo>
                            <a:pt x="1692" y="2066"/>
                          </a:lnTo>
                          <a:lnTo>
                            <a:pt x="1680" y="2071"/>
                          </a:lnTo>
                          <a:lnTo>
                            <a:pt x="1672" y="2071"/>
                          </a:lnTo>
                          <a:lnTo>
                            <a:pt x="1663" y="2072"/>
                          </a:lnTo>
                          <a:lnTo>
                            <a:pt x="1647" y="2078"/>
                          </a:lnTo>
                          <a:lnTo>
                            <a:pt x="1673" y="2075"/>
                          </a:lnTo>
                          <a:lnTo>
                            <a:pt x="1678" y="2078"/>
                          </a:lnTo>
                          <a:lnTo>
                            <a:pt x="1653" y="2086"/>
                          </a:lnTo>
                          <a:lnTo>
                            <a:pt x="1643" y="2086"/>
                          </a:lnTo>
                          <a:lnTo>
                            <a:pt x="1644" y="2083"/>
                          </a:lnTo>
                          <a:lnTo>
                            <a:pt x="1638" y="2089"/>
                          </a:lnTo>
                          <a:lnTo>
                            <a:pt x="1643" y="2091"/>
                          </a:lnTo>
                          <a:lnTo>
                            <a:pt x="1640" y="2106"/>
                          </a:lnTo>
                          <a:lnTo>
                            <a:pt x="1627" y="2123"/>
                          </a:lnTo>
                          <a:lnTo>
                            <a:pt x="1626" y="2118"/>
                          </a:lnTo>
                          <a:lnTo>
                            <a:pt x="1623" y="2117"/>
                          </a:lnTo>
                          <a:lnTo>
                            <a:pt x="1617" y="2111"/>
                          </a:lnTo>
                          <a:lnTo>
                            <a:pt x="1620" y="2123"/>
                          </a:lnTo>
                          <a:lnTo>
                            <a:pt x="1624" y="2128"/>
                          </a:lnTo>
                          <a:lnTo>
                            <a:pt x="1624" y="2135"/>
                          </a:lnTo>
                          <a:lnTo>
                            <a:pt x="1620" y="2145"/>
                          </a:lnTo>
                          <a:lnTo>
                            <a:pt x="1609" y="2161"/>
                          </a:lnTo>
                          <a:lnTo>
                            <a:pt x="1607" y="2160"/>
                          </a:lnTo>
                          <a:lnTo>
                            <a:pt x="1614" y="2146"/>
                          </a:lnTo>
                          <a:lnTo>
                            <a:pt x="1604" y="2137"/>
                          </a:lnTo>
                          <a:lnTo>
                            <a:pt x="1603" y="2118"/>
                          </a:lnTo>
                          <a:lnTo>
                            <a:pt x="1598" y="2129"/>
                          </a:lnTo>
                          <a:lnTo>
                            <a:pt x="1603" y="2143"/>
                          </a:lnTo>
                          <a:lnTo>
                            <a:pt x="1591" y="2138"/>
                          </a:lnTo>
                          <a:lnTo>
                            <a:pt x="1603" y="2146"/>
                          </a:lnTo>
                          <a:lnTo>
                            <a:pt x="1604" y="2166"/>
                          </a:lnTo>
                          <a:lnTo>
                            <a:pt x="1609" y="2168"/>
                          </a:lnTo>
                          <a:lnTo>
                            <a:pt x="1611" y="2175"/>
                          </a:lnTo>
                          <a:lnTo>
                            <a:pt x="1614" y="2197"/>
                          </a:lnTo>
                          <a:lnTo>
                            <a:pt x="1601" y="2212"/>
                          </a:lnTo>
                          <a:lnTo>
                            <a:pt x="1584" y="2218"/>
                          </a:lnTo>
                          <a:lnTo>
                            <a:pt x="1574" y="2231"/>
                          </a:lnTo>
                          <a:lnTo>
                            <a:pt x="1565" y="2232"/>
                          </a:lnTo>
                          <a:lnTo>
                            <a:pt x="1555" y="2240"/>
                          </a:lnTo>
                          <a:lnTo>
                            <a:pt x="1554" y="2246"/>
                          </a:lnTo>
                          <a:lnTo>
                            <a:pt x="1534" y="2260"/>
                          </a:lnTo>
                          <a:lnTo>
                            <a:pt x="1525" y="2269"/>
                          </a:lnTo>
                          <a:lnTo>
                            <a:pt x="1517" y="2281"/>
                          </a:lnTo>
                          <a:lnTo>
                            <a:pt x="1514" y="2295"/>
                          </a:lnTo>
                          <a:lnTo>
                            <a:pt x="1517" y="2309"/>
                          </a:lnTo>
                          <a:lnTo>
                            <a:pt x="1523" y="2326"/>
                          </a:lnTo>
                          <a:lnTo>
                            <a:pt x="1531" y="2340"/>
                          </a:lnTo>
                          <a:lnTo>
                            <a:pt x="1531" y="2349"/>
                          </a:lnTo>
                          <a:lnTo>
                            <a:pt x="1538" y="2370"/>
                          </a:lnTo>
                          <a:lnTo>
                            <a:pt x="1538" y="2384"/>
                          </a:lnTo>
                          <a:lnTo>
                            <a:pt x="1537" y="2392"/>
                          </a:lnTo>
                          <a:lnTo>
                            <a:pt x="1534" y="2403"/>
                          </a:lnTo>
                          <a:lnTo>
                            <a:pt x="1528" y="2406"/>
                          </a:lnTo>
                          <a:lnTo>
                            <a:pt x="1520" y="2403"/>
                          </a:lnTo>
                          <a:lnTo>
                            <a:pt x="1517" y="2395"/>
                          </a:lnTo>
                          <a:lnTo>
                            <a:pt x="1511" y="2390"/>
                          </a:lnTo>
                          <a:lnTo>
                            <a:pt x="1502" y="2374"/>
                          </a:lnTo>
                          <a:lnTo>
                            <a:pt x="1494" y="2360"/>
                          </a:lnTo>
                          <a:lnTo>
                            <a:pt x="1491" y="2352"/>
                          </a:lnTo>
                          <a:lnTo>
                            <a:pt x="1494" y="2338"/>
                          </a:lnTo>
                          <a:lnTo>
                            <a:pt x="1489" y="2327"/>
                          </a:lnTo>
                          <a:lnTo>
                            <a:pt x="1476" y="2312"/>
                          </a:lnTo>
                          <a:lnTo>
                            <a:pt x="1469" y="2309"/>
                          </a:lnTo>
                          <a:lnTo>
                            <a:pt x="1453" y="2317"/>
                          </a:lnTo>
                          <a:lnTo>
                            <a:pt x="1449" y="2317"/>
                          </a:lnTo>
                          <a:lnTo>
                            <a:pt x="1440" y="2307"/>
                          </a:lnTo>
                          <a:lnTo>
                            <a:pt x="1430" y="2303"/>
                          </a:lnTo>
                          <a:lnTo>
                            <a:pt x="1410" y="2304"/>
                          </a:lnTo>
                          <a:lnTo>
                            <a:pt x="1394" y="2303"/>
                          </a:lnTo>
                          <a:lnTo>
                            <a:pt x="1382" y="2304"/>
                          </a:lnTo>
                          <a:lnTo>
                            <a:pt x="1374" y="2307"/>
                          </a:lnTo>
                          <a:lnTo>
                            <a:pt x="1377" y="2312"/>
                          </a:lnTo>
                          <a:lnTo>
                            <a:pt x="1377" y="2320"/>
                          </a:lnTo>
                          <a:lnTo>
                            <a:pt x="1380" y="2324"/>
                          </a:lnTo>
                          <a:lnTo>
                            <a:pt x="1377" y="2327"/>
                          </a:lnTo>
                          <a:lnTo>
                            <a:pt x="1371" y="2324"/>
                          </a:lnTo>
                          <a:lnTo>
                            <a:pt x="1365" y="2327"/>
                          </a:lnTo>
                          <a:lnTo>
                            <a:pt x="1353" y="2327"/>
                          </a:lnTo>
                          <a:lnTo>
                            <a:pt x="1339" y="2317"/>
                          </a:lnTo>
                          <a:lnTo>
                            <a:pt x="1325" y="2320"/>
                          </a:lnTo>
                          <a:lnTo>
                            <a:pt x="1313" y="2315"/>
                          </a:lnTo>
                          <a:lnTo>
                            <a:pt x="1302" y="2317"/>
                          </a:lnTo>
                          <a:lnTo>
                            <a:pt x="1287" y="2321"/>
                          </a:lnTo>
                          <a:lnTo>
                            <a:pt x="1272" y="2335"/>
                          </a:lnTo>
                          <a:lnTo>
                            <a:pt x="1255" y="2343"/>
                          </a:lnTo>
                          <a:lnTo>
                            <a:pt x="1245" y="2354"/>
                          </a:lnTo>
                          <a:lnTo>
                            <a:pt x="1241" y="2361"/>
                          </a:lnTo>
                          <a:lnTo>
                            <a:pt x="1241" y="2375"/>
                          </a:lnTo>
                          <a:lnTo>
                            <a:pt x="1241" y="2384"/>
                          </a:lnTo>
                          <a:lnTo>
                            <a:pt x="1244" y="2390"/>
                          </a:lnTo>
                          <a:lnTo>
                            <a:pt x="1245" y="2390"/>
                          </a:lnTo>
                          <a:lnTo>
                            <a:pt x="1245" y="2390"/>
                          </a:lnTo>
                          <a:lnTo>
                            <a:pt x="1245" y="2390"/>
                          </a:lnTo>
                          <a:lnTo>
                            <a:pt x="1244" y="2390"/>
                          </a:lnTo>
                          <a:lnTo>
                            <a:pt x="1238" y="2407"/>
                          </a:lnTo>
                          <a:lnTo>
                            <a:pt x="1235" y="2421"/>
                          </a:lnTo>
                          <a:lnTo>
                            <a:pt x="1233" y="2446"/>
                          </a:lnTo>
                          <a:lnTo>
                            <a:pt x="1232" y="2455"/>
                          </a:lnTo>
                          <a:lnTo>
                            <a:pt x="1235" y="2464"/>
                          </a:lnTo>
                          <a:lnTo>
                            <a:pt x="1241" y="2473"/>
                          </a:lnTo>
                          <a:lnTo>
                            <a:pt x="1244" y="2487"/>
                          </a:lnTo>
                          <a:lnTo>
                            <a:pt x="1255" y="2501"/>
                          </a:lnTo>
                          <a:lnTo>
                            <a:pt x="1259" y="2512"/>
                          </a:lnTo>
                          <a:lnTo>
                            <a:pt x="1265" y="2521"/>
                          </a:lnTo>
                          <a:lnTo>
                            <a:pt x="1284" y="2526"/>
                          </a:lnTo>
                          <a:lnTo>
                            <a:pt x="1291" y="2533"/>
                          </a:lnTo>
                          <a:lnTo>
                            <a:pt x="1307" y="2529"/>
                          </a:lnTo>
                          <a:lnTo>
                            <a:pt x="1319" y="2526"/>
                          </a:lnTo>
                          <a:lnTo>
                            <a:pt x="1333" y="2523"/>
                          </a:lnTo>
                          <a:lnTo>
                            <a:pt x="1344" y="2520"/>
                          </a:lnTo>
                          <a:lnTo>
                            <a:pt x="1354" y="2512"/>
                          </a:lnTo>
                          <a:lnTo>
                            <a:pt x="1359" y="2503"/>
                          </a:lnTo>
                          <a:lnTo>
                            <a:pt x="1361" y="2487"/>
                          </a:lnTo>
                          <a:lnTo>
                            <a:pt x="1364" y="2481"/>
                          </a:lnTo>
                          <a:lnTo>
                            <a:pt x="1374" y="2477"/>
                          </a:lnTo>
                          <a:lnTo>
                            <a:pt x="1393" y="2472"/>
                          </a:lnTo>
                          <a:lnTo>
                            <a:pt x="1408" y="2473"/>
                          </a:lnTo>
                          <a:lnTo>
                            <a:pt x="1419" y="2472"/>
                          </a:lnTo>
                          <a:lnTo>
                            <a:pt x="1422" y="2475"/>
                          </a:lnTo>
                          <a:lnTo>
                            <a:pt x="1422" y="2484"/>
                          </a:lnTo>
                          <a:lnTo>
                            <a:pt x="1413" y="2495"/>
                          </a:lnTo>
                          <a:lnTo>
                            <a:pt x="1408" y="2506"/>
                          </a:lnTo>
                          <a:lnTo>
                            <a:pt x="1411" y="2509"/>
                          </a:lnTo>
                          <a:lnTo>
                            <a:pt x="1410" y="2517"/>
                          </a:lnTo>
                          <a:lnTo>
                            <a:pt x="1405" y="2532"/>
                          </a:lnTo>
                          <a:lnTo>
                            <a:pt x="1400" y="2527"/>
                          </a:lnTo>
                          <a:lnTo>
                            <a:pt x="1397" y="2527"/>
                          </a:lnTo>
                          <a:lnTo>
                            <a:pt x="1397" y="2529"/>
                          </a:lnTo>
                          <a:lnTo>
                            <a:pt x="1400" y="2529"/>
                          </a:lnTo>
                          <a:lnTo>
                            <a:pt x="1400" y="2535"/>
                          </a:lnTo>
                          <a:lnTo>
                            <a:pt x="1397" y="2543"/>
                          </a:lnTo>
                          <a:lnTo>
                            <a:pt x="1399" y="2546"/>
                          </a:lnTo>
                          <a:lnTo>
                            <a:pt x="1397" y="2552"/>
                          </a:lnTo>
                          <a:lnTo>
                            <a:pt x="1397" y="2553"/>
                          </a:lnTo>
                          <a:lnTo>
                            <a:pt x="1396" y="2563"/>
                          </a:lnTo>
                          <a:lnTo>
                            <a:pt x="1393" y="2567"/>
                          </a:lnTo>
                          <a:lnTo>
                            <a:pt x="1390" y="2567"/>
                          </a:lnTo>
                          <a:lnTo>
                            <a:pt x="1387" y="2573"/>
                          </a:lnTo>
                          <a:lnTo>
                            <a:pt x="1391" y="2576"/>
                          </a:lnTo>
                          <a:lnTo>
                            <a:pt x="1393" y="2575"/>
                          </a:lnTo>
                          <a:lnTo>
                            <a:pt x="1399" y="2576"/>
                          </a:lnTo>
                          <a:lnTo>
                            <a:pt x="1400" y="2578"/>
                          </a:lnTo>
                          <a:lnTo>
                            <a:pt x="1403" y="2573"/>
                          </a:lnTo>
                          <a:lnTo>
                            <a:pt x="1408" y="2573"/>
                          </a:lnTo>
                          <a:lnTo>
                            <a:pt x="1410" y="2575"/>
                          </a:lnTo>
                          <a:lnTo>
                            <a:pt x="1413" y="2575"/>
                          </a:lnTo>
                          <a:lnTo>
                            <a:pt x="1420" y="2576"/>
                          </a:lnTo>
                          <a:lnTo>
                            <a:pt x="1430" y="2575"/>
                          </a:lnTo>
                          <a:lnTo>
                            <a:pt x="1434" y="2573"/>
                          </a:lnTo>
                          <a:lnTo>
                            <a:pt x="1436" y="2572"/>
                          </a:lnTo>
                          <a:lnTo>
                            <a:pt x="1442" y="2572"/>
                          </a:lnTo>
                          <a:lnTo>
                            <a:pt x="1446" y="2573"/>
                          </a:lnTo>
                          <a:lnTo>
                            <a:pt x="1451" y="2573"/>
                          </a:lnTo>
                          <a:lnTo>
                            <a:pt x="1454" y="2572"/>
                          </a:lnTo>
                          <a:lnTo>
                            <a:pt x="1462" y="2575"/>
                          </a:lnTo>
                          <a:lnTo>
                            <a:pt x="1465" y="2575"/>
                          </a:lnTo>
                          <a:lnTo>
                            <a:pt x="1469" y="2578"/>
                          </a:lnTo>
                          <a:lnTo>
                            <a:pt x="1474" y="2583"/>
                          </a:lnTo>
                          <a:lnTo>
                            <a:pt x="1482" y="2584"/>
                          </a:lnTo>
                          <a:lnTo>
                            <a:pt x="1485" y="2590"/>
                          </a:lnTo>
                          <a:lnTo>
                            <a:pt x="1485" y="2592"/>
                          </a:lnTo>
                          <a:lnTo>
                            <a:pt x="1483" y="2595"/>
                          </a:lnTo>
                          <a:lnTo>
                            <a:pt x="1485" y="2601"/>
                          </a:lnTo>
                          <a:lnTo>
                            <a:pt x="1482" y="2607"/>
                          </a:lnTo>
                          <a:lnTo>
                            <a:pt x="1479" y="2615"/>
                          </a:lnTo>
                          <a:lnTo>
                            <a:pt x="1479" y="2623"/>
                          </a:lnTo>
                          <a:lnTo>
                            <a:pt x="1480" y="2627"/>
                          </a:lnTo>
                          <a:lnTo>
                            <a:pt x="1480" y="2635"/>
                          </a:lnTo>
                          <a:lnTo>
                            <a:pt x="1477" y="2636"/>
                          </a:lnTo>
                          <a:lnTo>
                            <a:pt x="1476" y="2644"/>
                          </a:lnTo>
                          <a:lnTo>
                            <a:pt x="1477" y="2649"/>
                          </a:lnTo>
                          <a:lnTo>
                            <a:pt x="1474" y="2653"/>
                          </a:lnTo>
                          <a:lnTo>
                            <a:pt x="1474" y="2658"/>
                          </a:lnTo>
                          <a:lnTo>
                            <a:pt x="1477" y="2661"/>
                          </a:lnTo>
                          <a:lnTo>
                            <a:pt x="1482" y="2670"/>
                          </a:lnTo>
                          <a:lnTo>
                            <a:pt x="1488" y="2678"/>
                          </a:lnTo>
                          <a:lnTo>
                            <a:pt x="1495" y="2684"/>
                          </a:lnTo>
                          <a:lnTo>
                            <a:pt x="1502" y="2692"/>
                          </a:lnTo>
                          <a:lnTo>
                            <a:pt x="1502" y="2695"/>
                          </a:lnTo>
                          <a:lnTo>
                            <a:pt x="1508" y="2695"/>
                          </a:lnTo>
                          <a:lnTo>
                            <a:pt x="1511" y="2693"/>
                          </a:lnTo>
                          <a:lnTo>
                            <a:pt x="1515" y="2698"/>
                          </a:lnTo>
                          <a:lnTo>
                            <a:pt x="1523" y="2696"/>
                          </a:lnTo>
                          <a:lnTo>
                            <a:pt x="1531" y="2693"/>
                          </a:lnTo>
                          <a:lnTo>
                            <a:pt x="1542" y="2689"/>
                          </a:lnTo>
                          <a:lnTo>
                            <a:pt x="1548" y="2684"/>
                          </a:lnTo>
                          <a:lnTo>
                            <a:pt x="1557" y="2686"/>
                          </a:lnTo>
                          <a:lnTo>
                            <a:pt x="1555" y="2687"/>
                          </a:lnTo>
                          <a:lnTo>
                            <a:pt x="1566" y="2687"/>
                          </a:lnTo>
                          <a:lnTo>
                            <a:pt x="1574" y="2690"/>
                          </a:lnTo>
                          <a:lnTo>
                            <a:pt x="1578" y="2695"/>
                          </a:lnTo>
                          <a:lnTo>
                            <a:pt x="1584" y="2701"/>
                          </a:lnTo>
                          <a:lnTo>
                            <a:pt x="1583" y="2703"/>
                          </a:lnTo>
                          <a:lnTo>
                            <a:pt x="1588" y="2713"/>
                          </a:lnTo>
                          <a:lnTo>
                            <a:pt x="1584" y="2718"/>
                          </a:lnTo>
                          <a:lnTo>
                            <a:pt x="1578" y="2716"/>
                          </a:lnTo>
                          <a:lnTo>
                            <a:pt x="1577" y="2726"/>
                          </a:lnTo>
                          <a:lnTo>
                            <a:pt x="1571" y="2721"/>
                          </a:lnTo>
                          <a:lnTo>
                            <a:pt x="1566" y="2712"/>
                          </a:lnTo>
                          <a:lnTo>
                            <a:pt x="1571" y="2707"/>
                          </a:lnTo>
                          <a:lnTo>
                            <a:pt x="1566" y="2706"/>
                          </a:lnTo>
                          <a:lnTo>
                            <a:pt x="1563" y="2699"/>
                          </a:lnTo>
                          <a:lnTo>
                            <a:pt x="1555" y="2695"/>
                          </a:lnTo>
                          <a:lnTo>
                            <a:pt x="1548" y="2696"/>
                          </a:lnTo>
                          <a:lnTo>
                            <a:pt x="1543" y="2703"/>
                          </a:lnTo>
                          <a:lnTo>
                            <a:pt x="1537" y="2706"/>
                          </a:lnTo>
                          <a:lnTo>
                            <a:pt x="1532" y="2707"/>
                          </a:lnTo>
                          <a:lnTo>
                            <a:pt x="1531" y="2710"/>
                          </a:lnTo>
                          <a:lnTo>
                            <a:pt x="1540" y="2719"/>
                          </a:lnTo>
                          <a:lnTo>
                            <a:pt x="1535" y="2723"/>
                          </a:lnTo>
                          <a:lnTo>
                            <a:pt x="1532" y="2724"/>
                          </a:lnTo>
                          <a:lnTo>
                            <a:pt x="1525" y="2726"/>
                          </a:lnTo>
                          <a:lnTo>
                            <a:pt x="1522" y="2715"/>
                          </a:lnTo>
                          <a:lnTo>
                            <a:pt x="1518" y="2718"/>
                          </a:lnTo>
                          <a:lnTo>
                            <a:pt x="1514" y="2716"/>
                          </a:lnTo>
                          <a:lnTo>
                            <a:pt x="1509" y="2710"/>
                          </a:lnTo>
                          <a:lnTo>
                            <a:pt x="1503" y="2709"/>
                          </a:lnTo>
                          <a:lnTo>
                            <a:pt x="1499" y="2707"/>
                          </a:lnTo>
                          <a:lnTo>
                            <a:pt x="1491" y="2707"/>
                          </a:lnTo>
                          <a:lnTo>
                            <a:pt x="1491" y="2710"/>
                          </a:lnTo>
                          <a:lnTo>
                            <a:pt x="1489" y="2709"/>
                          </a:lnTo>
                          <a:lnTo>
                            <a:pt x="1479" y="2704"/>
                          </a:lnTo>
                          <a:lnTo>
                            <a:pt x="1476" y="2701"/>
                          </a:lnTo>
                          <a:lnTo>
                            <a:pt x="1477" y="2698"/>
                          </a:lnTo>
                          <a:lnTo>
                            <a:pt x="1477" y="2693"/>
                          </a:lnTo>
                          <a:lnTo>
                            <a:pt x="1472" y="2690"/>
                          </a:lnTo>
                          <a:lnTo>
                            <a:pt x="1466" y="2686"/>
                          </a:lnTo>
                          <a:lnTo>
                            <a:pt x="1460" y="2684"/>
                          </a:lnTo>
                          <a:lnTo>
                            <a:pt x="1459" y="2679"/>
                          </a:lnTo>
                          <a:lnTo>
                            <a:pt x="1454" y="2676"/>
                          </a:lnTo>
                          <a:lnTo>
                            <a:pt x="1456" y="2681"/>
                          </a:lnTo>
                          <a:lnTo>
                            <a:pt x="1451" y="2686"/>
                          </a:lnTo>
                          <a:lnTo>
                            <a:pt x="1448" y="2679"/>
                          </a:lnTo>
                          <a:lnTo>
                            <a:pt x="1442" y="2678"/>
                          </a:lnTo>
                          <a:lnTo>
                            <a:pt x="1440" y="2675"/>
                          </a:lnTo>
                          <a:lnTo>
                            <a:pt x="1440" y="2670"/>
                          </a:lnTo>
                          <a:lnTo>
                            <a:pt x="1442" y="2664"/>
                          </a:lnTo>
                          <a:lnTo>
                            <a:pt x="1437" y="2661"/>
                          </a:lnTo>
                          <a:lnTo>
                            <a:pt x="1442" y="2658"/>
                          </a:lnTo>
                          <a:lnTo>
                            <a:pt x="1436" y="2653"/>
                          </a:lnTo>
                          <a:lnTo>
                            <a:pt x="1428" y="2646"/>
                          </a:lnTo>
                          <a:lnTo>
                            <a:pt x="1423" y="2640"/>
                          </a:lnTo>
                          <a:lnTo>
                            <a:pt x="1416" y="2635"/>
                          </a:lnTo>
                          <a:lnTo>
                            <a:pt x="1408" y="2626"/>
                          </a:lnTo>
                          <a:lnTo>
                            <a:pt x="1410" y="2624"/>
                          </a:lnTo>
                          <a:lnTo>
                            <a:pt x="1413" y="2626"/>
                          </a:lnTo>
                          <a:lnTo>
                            <a:pt x="1414" y="2626"/>
                          </a:lnTo>
                          <a:lnTo>
                            <a:pt x="1411" y="2620"/>
                          </a:lnTo>
                          <a:lnTo>
                            <a:pt x="1405" y="2618"/>
                          </a:lnTo>
                          <a:lnTo>
                            <a:pt x="1403" y="2623"/>
                          </a:lnTo>
                          <a:lnTo>
                            <a:pt x="1394" y="2623"/>
                          </a:lnTo>
                          <a:lnTo>
                            <a:pt x="1388" y="2620"/>
                          </a:lnTo>
                          <a:lnTo>
                            <a:pt x="1380" y="2616"/>
                          </a:lnTo>
                          <a:lnTo>
                            <a:pt x="1371" y="2615"/>
                          </a:lnTo>
                          <a:lnTo>
                            <a:pt x="1367" y="2612"/>
                          </a:lnTo>
                          <a:lnTo>
                            <a:pt x="1357" y="2609"/>
                          </a:lnTo>
                          <a:lnTo>
                            <a:pt x="1347" y="2609"/>
                          </a:lnTo>
                          <a:lnTo>
                            <a:pt x="1339" y="2606"/>
                          </a:lnTo>
                          <a:lnTo>
                            <a:pt x="1330" y="2598"/>
                          </a:lnTo>
                          <a:lnTo>
                            <a:pt x="1310" y="2578"/>
                          </a:lnTo>
                          <a:lnTo>
                            <a:pt x="1301" y="2573"/>
                          </a:lnTo>
                          <a:lnTo>
                            <a:pt x="1287" y="2569"/>
                          </a:lnTo>
                          <a:lnTo>
                            <a:pt x="1278" y="2569"/>
                          </a:lnTo>
                          <a:lnTo>
                            <a:pt x="1264" y="2576"/>
                          </a:lnTo>
                          <a:lnTo>
                            <a:pt x="1255" y="2578"/>
                          </a:lnTo>
                          <a:lnTo>
                            <a:pt x="1242" y="2573"/>
                          </a:lnTo>
                          <a:lnTo>
                            <a:pt x="1230" y="2570"/>
                          </a:lnTo>
                          <a:lnTo>
                            <a:pt x="1213" y="2561"/>
                          </a:lnTo>
                          <a:lnTo>
                            <a:pt x="1201" y="2560"/>
                          </a:lnTo>
                          <a:lnTo>
                            <a:pt x="1181" y="2550"/>
                          </a:lnTo>
                          <a:lnTo>
                            <a:pt x="1167" y="2543"/>
                          </a:lnTo>
                          <a:lnTo>
                            <a:pt x="1163" y="2538"/>
                          </a:lnTo>
                          <a:lnTo>
                            <a:pt x="1153" y="2537"/>
                          </a:lnTo>
                          <a:lnTo>
                            <a:pt x="1135" y="2530"/>
                          </a:lnTo>
                          <a:lnTo>
                            <a:pt x="1129" y="2523"/>
                          </a:lnTo>
                          <a:lnTo>
                            <a:pt x="1109" y="2512"/>
                          </a:lnTo>
                          <a:lnTo>
                            <a:pt x="1101" y="2501"/>
                          </a:lnTo>
                          <a:lnTo>
                            <a:pt x="1097" y="2492"/>
                          </a:lnTo>
                          <a:lnTo>
                            <a:pt x="1103" y="2490"/>
                          </a:lnTo>
                          <a:lnTo>
                            <a:pt x="1101" y="2484"/>
                          </a:lnTo>
                          <a:lnTo>
                            <a:pt x="1104" y="2480"/>
                          </a:lnTo>
                          <a:lnTo>
                            <a:pt x="1104" y="2473"/>
                          </a:lnTo>
                          <a:lnTo>
                            <a:pt x="1100" y="2466"/>
                          </a:lnTo>
                          <a:lnTo>
                            <a:pt x="1098" y="2458"/>
                          </a:lnTo>
                          <a:lnTo>
                            <a:pt x="1092" y="2449"/>
                          </a:lnTo>
                          <a:lnTo>
                            <a:pt x="1077" y="2430"/>
                          </a:lnTo>
                          <a:lnTo>
                            <a:pt x="1060" y="2415"/>
                          </a:lnTo>
                          <a:lnTo>
                            <a:pt x="1051" y="2404"/>
                          </a:lnTo>
                          <a:lnTo>
                            <a:pt x="1037" y="2395"/>
                          </a:lnTo>
                          <a:lnTo>
                            <a:pt x="1034" y="2390"/>
                          </a:lnTo>
                          <a:lnTo>
                            <a:pt x="1035" y="2380"/>
                          </a:lnTo>
                          <a:lnTo>
                            <a:pt x="1028" y="2375"/>
                          </a:lnTo>
                          <a:lnTo>
                            <a:pt x="1017" y="2366"/>
                          </a:lnTo>
                          <a:lnTo>
                            <a:pt x="1012" y="2352"/>
                          </a:lnTo>
                          <a:lnTo>
                            <a:pt x="1003" y="2351"/>
                          </a:lnTo>
                          <a:lnTo>
                            <a:pt x="994" y="2340"/>
                          </a:lnTo>
                          <a:lnTo>
                            <a:pt x="985" y="2331"/>
                          </a:lnTo>
                          <a:lnTo>
                            <a:pt x="985" y="2324"/>
                          </a:lnTo>
                          <a:lnTo>
                            <a:pt x="976" y="2309"/>
                          </a:lnTo>
                          <a:lnTo>
                            <a:pt x="969" y="2295"/>
                          </a:lnTo>
                          <a:lnTo>
                            <a:pt x="969" y="2287"/>
                          </a:lnTo>
                          <a:lnTo>
                            <a:pt x="957" y="2278"/>
                          </a:lnTo>
                          <a:lnTo>
                            <a:pt x="951" y="2280"/>
                          </a:lnTo>
                          <a:lnTo>
                            <a:pt x="942" y="2274"/>
                          </a:lnTo>
                          <a:lnTo>
                            <a:pt x="939" y="2283"/>
                          </a:lnTo>
                          <a:lnTo>
                            <a:pt x="942" y="2292"/>
                          </a:lnTo>
                          <a:lnTo>
                            <a:pt x="943" y="2307"/>
                          </a:lnTo>
                          <a:lnTo>
                            <a:pt x="949" y="2315"/>
                          </a:lnTo>
                          <a:lnTo>
                            <a:pt x="962" y="2329"/>
                          </a:lnTo>
                          <a:lnTo>
                            <a:pt x="965" y="2334"/>
                          </a:lnTo>
                          <a:lnTo>
                            <a:pt x="968" y="2335"/>
                          </a:lnTo>
                          <a:lnTo>
                            <a:pt x="969" y="2341"/>
                          </a:lnTo>
                          <a:lnTo>
                            <a:pt x="972" y="2341"/>
                          </a:lnTo>
                          <a:lnTo>
                            <a:pt x="976" y="2354"/>
                          </a:lnTo>
                          <a:lnTo>
                            <a:pt x="982" y="2358"/>
                          </a:lnTo>
                          <a:lnTo>
                            <a:pt x="985" y="2366"/>
                          </a:lnTo>
                          <a:lnTo>
                            <a:pt x="995" y="2375"/>
                          </a:lnTo>
                          <a:lnTo>
                            <a:pt x="1002" y="2394"/>
                          </a:lnTo>
                          <a:lnTo>
                            <a:pt x="1006" y="2401"/>
                          </a:lnTo>
                          <a:lnTo>
                            <a:pt x="1011" y="2410"/>
                          </a:lnTo>
                          <a:lnTo>
                            <a:pt x="1012" y="2420"/>
                          </a:lnTo>
                          <a:lnTo>
                            <a:pt x="1020" y="2421"/>
                          </a:lnTo>
                          <a:lnTo>
                            <a:pt x="1028" y="2429"/>
                          </a:lnTo>
                          <a:lnTo>
                            <a:pt x="1034" y="2438"/>
                          </a:lnTo>
                          <a:lnTo>
                            <a:pt x="1034" y="2441"/>
                          </a:lnTo>
                          <a:lnTo>
                            <a:pt x="1026" y="2447"/>
                          </a:lnTo>
                          <a:lnTo>
                            <a:pt x="1023" y="2447"/>
                          </a:lnTo>
                          <a:lnTo>
                            <a:pt x="1018" y="2437"/>
                          </a:lnTo>
                          <a:lnTo>
                            <a:pt x="1008" y="2426"/>
                          </a:lnTo>
                          <a:lnTo>
                            <a:pt x="995" y="2417"/>
                          </a:lnTo>
                          <a:lnTo>
                            <a:pt x="986" y="2412"/>
                          </a:lnTo>
                          <a:lnTo>
                            <a:pt x="986" y="2398"/>
                          </a:lnTo>
                          <a:lnTo>
                            <a:pt x="985" y="2387"/>
                          </a:lnTo>
                          <a:lnTo>
                            <a:pt x="976" y="2381"/>
                          </a:lnTo>
                          <a:lnTo>
                            <a:pt x="963" y="2374"/>
                          </a:lnTo>
                          <a:lnTo>
                            <a:pt x="962" y="2375"/>
                          </a:lnTo>
                          <a:lnTo>
                            <a:pt x="957" y="2370"/>
                          </a:lnTo>
                          <a:lnTo>
                            <a:pt x="946" y="2366"/>
                          </a:lnTo>
                          <a:lnTo>
                            <a:pt x="937" y="2355"/>
                          </a:lnTo>
                          <a:lnTo>
                            <a:pt x="937" y="2354"/>
                          </a:lnTo>
                          <a:lnTo>
                            <a:pt x="945" y="2354"/>
                          </a:lnTo>
                          <a:lnTo>
                            <a:pt x="951" y="2347"/>
                          </a:lnTo>
                          <a:lnTo>
                            <a:pt x="953" y="2338"/>
                          </a:lnTo>
                          <a:lnTo>
                            <a:pt x="939" y="2324"/>
                          </a:lnTo>
                          <a:lnTo>
                            <a:pt x="928" y="2318"/>
                          </a:lnTo>
                          <a:lnTo>
                            <a:pt x="922" y="2306"/>
                          </a:lnTo>
                          <a:lnTo>
                            <a:pt x="916" y="2294"/>
                          </a:lnTo>
                          <a:lnTo>
                            <a:pt x="908" y="2277"/>
                          </a:lnTo>
                          <a:lnTo>
                            <a:pt x="900" y="2260"/>
                          </a:lnTo>
                          <a:lnTo>
                            <a:pt x="900" y="2260"/>
                          </a:lnTo>
                          <a:lnTo>
                            <a:pt x="897" y="2249"/>
                          </a:lnTo>
                          <a:lnTo>
                            <a:pt x="887" y="2237"/>
                          </a:lnTo>
                          <a:lnTo>
                            <a:pt x="879" y="2235"/>
                          </a:lnTo>
                          <a:lnTo>
                            <a:pt x="877" y="2229"/>
                          </a:lnTo>
                          <a:lnTo>
                            <a:pt x="867" y="2228"/>
                          </a:lnTo>
                          <a:lnTo>
                            <a:pt x="860" y="2223"/>
                          </a:lnTo>
                          <a:lnTo>
                            <a:pt x="845" y="2220"/>
                          </a:lnTo>
                          <a:lnTo>
                            <a:pt x="841" y="2217"/>
                          </a:lnTo>
                          <a:lnTo>
                            <a:pt x="839" y="2206"/>
                          </a:lnTo>
                          <a:lnTo>
                            <a:pt x="822" y="2184"/>
                          </a:lnTo>
                          <a:lnTo>
                            <a:pt x="808" y="2154"/>
                          </a:lnTo>
                          <a:lnTo>
                            <a:pt x="808" y="2149"/>
                          </a:lnTo>
                          <a:lnTo>
                            <a:pt x="801" y="2141"/>
                          </a:lnTo>
                          <a:lnTo>
                            <a:pt x="787" y="2123"/>
                          </a:lnTo>
                          <a:lnTo>
                            <a:pt x="785" y="2106"/>
                          </a:lnTo>
                          <a:lnTo>
                            <a:pt x="776" y="2094"/>
                          </a:lnTo>
                          <a:lnTo>
                            <a:pt x="779" y="2074"/>
                          </a:lnTo>
                          <a:lnTo>
                            <a:pt x="779" y="2055"/>
                          </a:lnTo>
                          <a:lnTo>
                            <a:pt x="773" y="2037"/>
                          </a:lnTo>
                          <a:lnTo>
                            <a:pt x="781" y="2015"/>
                          </a:lnTo>
                          <a:lnTo>
                            <a:pt x="782" y="1992"/>
                          </a:lnTo>
                          <a:lnTo>
                            <a:pt x="784" y="1971"/>
                          </a:lnTo>
                          <a:lnTo>
                            <a:pt x="781" y="1937"/>
                          </a:lnTo>
                          <a:lnTo>
                            <a:pt x="776" y="1915"/>
                          </a:lnTo>
                          <a:lnTo>
                            <a:pt x="770" y="1905"/>
                          </a:lnTo>
                          <a:lnTo>
                            <a:pt x="773" y="1899"/>
                          </a:lnTo>
                          <a:lnTo>
                            <a:pt x="798" y="1908"/>
                          </a:lnTo>
                          <a:lnTo>
                            <a:pt x="807" y="1932"/>
                          </a:lnTo>
                          <a:lnTo>
                            <a:pt x="811" y="1925"/>
                          </a:lnTo>
                          <a:lnTo>
                            <a:pt x="808" y="1905"/>
                          </a:lnTo>
                          <a:lnTo>
                            <a:pt x="802" y="1883"/>
                          </a:lnTo>
                          <a:lnTo>
                            <a:pt x="801" y="1883"/>
                          </a:lnTo>
                          <a:lnTo>
                            <a:pt x="767" y="1857"/>
                          </a:lnTo>
                          <a:lnTo>
                            <a:pt x="755" y="1845"/>
                          </a:lnTo>
                          <a:lnTo>
                            <a:pt x="724" y="1834"/>
                          </a:lnTo>
                          <a:lnTo>
                            <a:pt x="713" y="1809"/>
                          </a:lnTo>
                          <a:lnTo>
                            <a:pt x="716" y="1792"/>
                          </a:lnTo>
                          <a:lnTo>
                            <a:pt x="695" y="1780"/>
                          </a:lnTo>
                          <a:lnTo>
                            <a:pt x="692" y="1757"/>
                          </a:lnTo>
                          <a:lnTo>
                            <a:pt x="670" y="1736"/>
                          </a:lnTo>
                          <a:lnTo>
                            <a:pt x="670" y="1720"/>
                          </a:lnTo>
                          <a:lnTo>
                            <a:pt x="661" y="1709"/>
                          </a:lnTo>
                          <a:lnTo>
                            <a:pt x="646" y="1700"/>
                          </a:lnTo>
                          <a:lnTo>
                            <a:pt x="641" y="1673"/>
                          </a:lnTo>
                          <a:lnTo>
                            <a:pt x="618" y="1648"/>
                          </a:lnTo>
                          <a:lnTo>
                            <a:pt x="609" y="1617"/>
                          </a:lnTo>
                          <a:lnTo>
                            <a:pt x="592" y="1616"/>
                          </a:lnTo>
                          <a:lnTo>
                            <a:pt x="566" y="1614"/>
                          </a:lnTo>
                          <a:lnTo>
                            <a:pt x="545" y="1605"/>
                          </a:lnTo>
                          <a:lnTo>
                            <a:pt x="509" y="1570"/>
                          </a:lnTo>
                          <a:lnTo>
                            <a:pt x="492" y="1563"/>
                          </a:lnTo>
                          <a:lnTo>
                            <a:pt x="463" y="1551"/>
                          </a:lnTo>
                          <a:lnTo>
                            <a:pt x="439" y="1554"/>
                          </a:lnTo>
                          <a:lnTo>
                            <a:pt x="405" y="1539"/>
                          </a:lnTo>
                          <a:lnTo>
                            <a:pt x="385" y="1523"/>
                          </a:lnTo>
                          <a:lnTo>
                            <a:pt x="367" y="1531"/>
                          </a:lnTo>
                          <a:lnTo>
                            <a:pt x="370" y="1556"/>
                          </a:lnTo>
                          <a:lnTo>
                            <a:pt x="360" y="1557"/>
                          </a:lnTo>
                          <a:lnTo>
                            <a:pt x="341" y="1565"/>
                          </a:lnTo>
                          <a:lnTo>
                            <a:pt x="325" y="1576"/>
                          </a:lnTo>
                          <a:lnTo>
                            <a:pt x="305" y="1583"/>
                          </a:lnTo>
                          <a:lnTo>
                            <a:pt x="304" y="1563"/>
                          </a:lnTo>
                          <a:lnTo>
                            <a:pt x="311" y="1530"/>
                          </a:lnTo>
                          <a:lnTo>
                            <a:pt x="330" y="1519"/>
                          </a:lnTo>
                          <a:lnTo>
                            <a:pt x="325" y="1510"/>
                          </a:lnTo>
                          <a:lnTo>
                            <a:pt x="302" y="1530"/>
                          </a:lnTo>
                          <a:lnTo>
                            <a:pt x="291" y="1553"/>
                          </a:lnTo>
                          <a:lnTo>
                            <a:pt x="267" y="1577"/>
                          </a:lnTo>
                          <a:lnTo>
                            <a:pt x="279" y="1593"/>
                          </a:lnTo>
                          <a:lnTo>
                            <a:pt x="262" y="1617"/>
                          </a:lnTo>
                          <a:lnTo>
                            <a:pt x="244" y="1630"/>
                          </a:lnTo>
                          <a:lnTo>
                            <a:pt x="227" y="1640"/>
                          </a:lnTo>
                          <a:lnTo>
                            <a:pt x="222" y="1654"/>
                          </a:lnTo>
                          <a:lnTo>
                            <a:pt x="196" y="1670"/>
                          </a:lnTo>
                          <a:lnTo>
                            <a:pt x="190" y="1685"/>
                          </a:lnTo>
                          <a:lnTo>
                            <a:pt x="170" y="1697"/>
                          </a:lnTo>
                          <a:lnTo>
                            <a:pt x="158" y="1696"/>
                          </a:lnTo>
                          <a:lnTo>
                            <a:pt x="143" y="1703"/>
                          </a:lnTo>
                          <a:lnTo>
                            <a:pt x="124" y="1714"/>
                          </a:lnTo>
                          <a:lnTo>
                            <a:pt x="110" y="1725"/>
                          </a:lnTo>
                          <a:lnTo>
                            <a:pt x="81" y="1733"/>
                          </a:lnTo>
                          <a:lnTo>
                            <a:pt x="78" y="1728"/>
                          </a:lnTo>
                          <a:lnTo>
                            <a:pt x="97" y="1714"/>
                          </a:lnTo>
                          <a:lnTo>
                            <a:pt x="114" y="1705"/>
                          </a:lnTo>
                          <a:lnTo>
                            <a:pt x="132" y="1688"/>
                          </a:lnTo>
                          <a:lnTo>
                            <a:pt x="153" y="1685"/>
                          </a:lnTo>
                          <a:lnTo>
                            <a:pt x="163" y="1671"/>
                          </a:lnTo>
                          <a:lnTo>
                            <a:pt x="186" y="1653"/>
                          </a:lnTo>
                          <a:lnTo>
                            <a:pt x="190" y="1646"/>
                          </a:lnTo>
                          <a:lnTo>
                            <a:pt x="202" y="1636"/>
                          </a:lnTo>
                          <a:lnTo>
                            <a:pt x="206" y="1611"/>
                          </a:lnTo>
                          <a:lnTo>
                            <a:pt x="215" y="1591"/>
                          </a:lnTo>
                          <a:lnTo>
                            <a:pt x="195" y="1602"/>
                          </a:lnTo>
                          <a:lnTo>
                            <a:pt x="189" y="1596"/>
                          </a:lnTo>
                          <a:lnTo>
                            <a:pt x="179" y="1608"/>
                          </a:lnTo>
                          <a:lnTo>
                            <a:pt x="169" y="1591"/>
                          </a:lnTo>
                          <a:lnTo>
                            <a:pt x="164" y="1603"/>
                          </a:lnTo>
                          <a:lnTo>
                            <a:pt x="158" y="1586"/>
                          </a:lnTo>
                          <a:lnTo>
                            <a:pt x="140" y="1599"/>
                          </a:lnTo>
                          <a:lnTo>
                            <a:pt x="129" y="1599"/>
                          </a:lnTo>
                          <a:lnTo>
                            <a:pt x="129" y="1580"/>
                          </a:lnTo>
                          <a:lnTo>
                            <a:pt x="132" y="1567"/>
                          </a:lnTo>
                          <a:lnTo>
                            <a:pt x="120" y="1556"/>
                          </a:lnTo>
                          <a:lnTo>
                            <a:pt x="98" y="1562"/>
                          </a:lnTo>
                          <a:lnTo>
                            <a:pt x="83" y="1545"/>
                          </a:lnTo>
                          <a:lnTo>
                            <a:pt x="72" y="1537"/>
                          </a:lnTo>
                          <a:lnTo>
                            <a:pt x="72" y="1517"/>
                          </a:lnTo>
                          <a:lnTo>
                            <a:pt x="58" y="1502"/>
                          </a:lnTo>
                          <a:lnTo>
                            <a:pt x="64" y="1480"/>
                          </a:lnTo>
                          <a:lnTo>
                            <a:pt x="78" y="1460"/>
                          </a:lnTo>
                          <a:lnTo>
                            <a:pt x="84" y="1440"/>
                          </a:lnTo>
                          <a:lnTo>
                            <a:pt x="98" y="1437"/>
                          </a:lnTo>
                          <a:lnTo>
                            <a:pt x="110" y="1444"/>
                          </a:lnTo>
                          <a:lnTo>
                            <a:pt x="124" y="1425"/>
                          </a:lnTo>
                          <a:lnTo>
                            <a:pt x="137" y="1428"/>
                          </a:lnTo>
                          <a:lnTo>
                            <a:pt x="150" y="1417"/>
                          </a:lnTo>
                          <a:lnTo>
                            <a:pt x="147" y="1399"/>
                          </a:lnTo>
                          <a:lnTo>
                            <a:pt x="138" y="1391"/>
                          </a:lnTo>
                          <a:lnTo>
                            <a:pt x="150" y="1376"/>
                          </a:lnTo>
                          <a:lnTo>
                            <a:pt x="140" y="1377"/>
                          </a:lnTo>
                          <a:lnTo>
                            <a:pt x="121" y="1385"/>
                          </a:lnTo>
                          <a:lnTo>
                            <a:pt x="117" y="1394"/>
                          </a:lnTo>
                          <a:lnTo>
                            <a:pt x="103" y="1385"/>
                          </a:lnTo>
                          <a:lnTo>
                            <a:pt x="78" y="1390"/>
                          </a:lnTo>
                          <a:lnTo>
                            <a:pt x="52" y="1381"/>
                          </a:lnTo>
                          <a:lnTo>
                            <a:pt x="46" y="1364"/>
                          </a:lnTo>
                          <a:lnTo>
                            <a:pt x="25" y="1341"/>
                          </a:lnTo>
                          <a:lnTo>
                            <a:pt x="48" y="1322"/>
                          </a:lnTo>
                          <a:lnTo>
                            <a:pt x="86" y="1302"/>
                          </a:lnTo>
                          <a:lnTo>
                            <a:pt x="101" y="1302"/>
                          </a:lnTo>
                          <a:lnTo>
                            <a:pt x="98" y="1322"/>
                          </a:lnTo>
                          <a:lnTo>
                            <a:pt x="135" y="1321"/>
                          </a:lnTo>
                          <a:lnTo>
                            <a:pt x="121" y="1294"/>
                          </a:lnTo>
                          <a:lnTo>
                            <a:pt x="100" y="1278"/>
                          </a:lnTo>
                          <a:lnTo>
                            <a:pt x="87" y="1256"/>
                          </a:lnTo>
                          <a:lnTo>
                            <a:pt x="71" y="1236"/>
                          </a:lnTo>
                          <a:lnTo>
                            <a:pt x="48" y="1221"/>
                          </a:lnTo>
                          <a:lnTo>
                            <a:pt x="57" y="1196"/>
                          </a:lnTo>
                          <a:lnTo>
                            <a:pt x="87" y="1194"/>
                          </a:lnTo>
                          <a:lnTo>
                            <a:pt x="109" y="1173"/>
                          </a:lnTo>
                          <a:lnTo>
                            <a:pt x="114" y="1148"/>
                          </a:lnTo>
                          <a:lnTo>
                            <a:pt x="130" y="1125"/>
                          </a:lnTo>
                          <a:lnTo>
                            <a:pt x="147" y="1119"/>
                          </a:lnTo>
                          <a:lnTo>
                            <a:pt x="179" y="1096"/>
                          </a:lnTo>
                          <a:lnTo>
                            <a:pt x="196" y="1099"/>
                          </a:lnTo>
                          <a:lnTo>
                            <a:pt x="222" y="1072"/>
                          </a:lnTo>
                          <a:lnTo>
                            <a:pt x="248" y="1082"/>
                          </a:lnTo>
                          <a:lnTo>
                            <a:pt x="261" y="1105"/>
                          </a:lnTo>
                          <a:lnTo>
                            <a:pt x="268" y="1096"/>
                          </a:lnTo>
                          <a:lnTo>
                            <a:pt x="298" y="1099"/>
                          </a:lnTo>
                          <a:lnTo>
                            <a:pt x="296" y="1111"/>
                          </a:lnTo>
                          <a:lnTo>
                            <a:pt x="322" y="1119"/>
                          </a:lnTo>
                          <a:lnTo>
                            <a:pt x="341" y="1115"/>
                          </a:lnTo>
                          <a:lnTo>
                            <a:pt x="376" y="1131"/>
                          </a:lnTo>
                          <a:lnTo>
                            <a:pt x="410" y="1136"/>
                          </a:lnTo>
                          <a:lnTo>
                            <a:pt x="423" y="1142"/>
                          </a:lnTo>
                          <a:lnTo>
                            <a:pt x="446" y="1135"/>
                          </a:lnTo>
                          <a:lnTo>
                            <a:pt x="472" y="1148"/>
                          </a:lnTo>
                          <a:lnTo>
                            <a:pt x="491" y="1156"/>
                          </a:lnTo>
                          <a:lnTo>
                            <a:pt x="523" y="1168"/>
                          </a:lnTo>
                          <a:lnTo>
                            <a:pt x="549" y="1191"/>
                          </a:lnTo>
                          <a:lnTo>
                            <a:pt x="568" y="1196"/>
                          </a:lnTo>
                          <a:lnTo>
                            <a:pt x="583" y="1176"/>
                          </a:lnTo>
                          <a:lnTo>
                            <a:pt x="603" y="1161"/>
                          </a:lnTo>
                          <a:lnTo>
                            <a:pt x="629" y="1167"/>
                          </a:lnTo>
                          <a:lnTo>
                            <a:pt x="655" y="1144"/>
                          </a:lnTo>
                          <a:lnTo>
                            <a:pt x="683" y="1131"/>
                          </a:lnTo>
                          <a:lnTo>
                            <a:pt x="695" y="1153"/>
                          </a:lnTo>
                          <a:lnTo>
                            <a:pt x="707" y="1141"/>
                          </a:lnTo>
                          <a:lnTo>
                            <a:pt x="712" y="1118"/>
                          </a:lnTo>
                          <a:lnTo>
                            <a:pt x="724" y="1122"/>
                          </a:lnTo>
                          <a:lnTo>
                            <a:pt x="753" y="1167"/>
                          </a:lnTo>
                          <a:lnTo>
                            <a:pt x="776" y="1133"/>
                          </a:lnTo>
                          <a:lnTo>
                            <a:pt x="778" y="1171"/>
                          </a:lnTo>
                          <a:lnTo>
                            <a:pt x="799" y="1164"/>
                          </a:lnTo>
                          <a:lnTo>
                            <a:pt x="805" y="1148"/>
                          </a:lnTo>
                          <a:lnTo>
                            <a:pt x="827" y="1151"/>
                          </a:lnTo>
                          <a:lnTo>
                            <a:pt x="853" y="1173"/>
                          </a:lnTo>
                          <a:lnTo>
                            <a:pt x="893" y="1190"/>
                          </a:lnTo>
                          <a:lnTo>
                            <a:pt x="916" y="1199"/>
                          </a:lnTo>
                          <a:lnTo>
                            <a:pt x="933" y="1196"/>
                          </a:lnTo>
                          <a:lnTo>
                            <a:pt x="957" y="1219"/>
                          </a:lnTo>
                          <a:lnTo>
                            <a:pt x="933" y="1242"/>
                          </a:lnTo>
                          <a:lnTo>
                            <a:pt x="963" y="1251"/>
                          </a:lnTo>
                          <a:lnTo>
                            <a:pt x="1009" y="1247"/>
                          </a:lnTo>
                          <a:lnTo>
                            <a:pt x="1025" y="1239"/>
                          </a:lnTo>
                          <a:lnTo>
                            <a:pt x="1043" y="1265"/>
                          </a:lnTo>
                          <a:lnTo>
                            <a:pt x="1061" y="1244"/>
                          </a:lnTo>
                          <a:lnTo>
                            <a:pt x="1045" y="1224"/>
                          </a:lnTo>
                          <a:lnTo>
                            <a:pt x="1055" y="1207"/>
                          </a:lnTo>
                          <a:lnTo>
                            <a:pt x="1077" y="1205"/>
                          </a:lnTo>
                          <a:lnTo>
                            <a:pt x="1091" y="1201"/>
                          </a:lnTo>
                          <a:lnTo>
                            <a:pt x="1104" y="1211"/>
                          </a:lnTo>
                          <a:lnTo>
                            <a:pt x="1121" y="1238"/>
                          </a:lnTo>
                          <a:lnTo>
                            <a:pt x="1140" y="1233"/>
                          </a:lnTo>
                          <a:lnTo>
                            <a:pt x="1170" y="1254"/>
                          </a:lnTo>
                          <a:lnTo>
                            <a:pt x="1198" y="1247"/>
                          </a:lnTo>
                          <a:lnTo>
                            <a:pt x="1222" y="1248"/>
                          </a:lnTo>
                          <a:lnTo>
                            <a:pt x="1221" y="1219"/>
                          </a:lnTo>
                          <a:lnTo>
                            <a:pt x="1236" y="1211"/>
                          </a:lnTo>
                          <a:lnTo>
                            <a:pt x="1262" y="1227"/>
                          </a:lnTo>
                          <a:lnTo>
                            <a:pt x="1262" y="1270"/>
                          </a:lnTo>
                          <a:lnTo>
                            <a:pt x="1273" y="1234"/>
                          </a:lnTo>
                          <a:lnTo>
                            <a:pt x="1287" y="1234"/>
                          </a:lnTo>
                          <a:lnTo>
                            <a:pt x="1295" y="1187"/>
                          </a:lnTo>
                          <a:lnTo>
                            <a:pt x="1276" y="1158"/>
                          </a:lnTo>
                          <a:lnTo>
                            <a:pt x="1256" y="1138"/>
                          </a:lnTo>
                          <a:lnTo>
                            <a:pt x="1258" y="1079"/>
                          </a:lnTo>
                          <a:lnTo>
                            <a:pt x="1278" y="1041"/>
                          </a:lnTo>
                          <a:lnTo>
                            <a:pt x="1301" y="1048"/>
                          </a:lnTo>
                          <a:lnTo>
                            <a:pt x="1318" y="1073"/>
                          </a:lnTo>
                          <a:lnTo>
                            <a:pt x="1342" y="1131"/>
                          </a:lnTo>
                          <a:lnTo>
                            <a:pt x="1327" y="1156"/>
                          </a:lnTo>
                          <a:lnTo>
                            <a:pt x="1357" y="1167"/>
                          </a:lnTo>
                          <a:lnTo>
                            <a:pt x="1357" y="1216"/>
                          </a:lnTo>
                          <a:lnTo>
                            <a:pt x="1380" y="1179"/>
                          </a:lnTo>
                          <a:lnTo>
                            <a:pt x="1402" y="1210"/>
                          </a:lnTo>
                          <a:lnTo>
                            <a:pt x="1396" y="1244"/>
                          </a:lnTo>
                          <a:lnTo>
                            <a:pt x="1413" y="1274"/>
                          </a:lnTo>
                          <a:lnTo>
                            <a:pt x="1431" y="1242"/>
                          </a:lnTo>
                          <a:lnTo>
                            <a:pt x="1443" y="1201"/>
                          </a:lnTo>
                          <a:lnTo>
                            <a:pt x="1445" y="1148"/>
                          </a:lnTo>
                          <a:lnTo>
                            <a:pt x="1469" y="1151"/>
                          </a:lnTo>
                          <a:lnTo>
                            <a:pt x="1494" y="1159"/>
                          </a:lnTo>
                          <a:lnTo>
                            <a:pt x="1517" y="1184"/>
                          </a:lnTo>
                          <a:lnTo>
                            <a:pt x="1518" y="1207"/>
                          </a:lnTo>
                          <a:lnTo>
                            <a:pt x="1506" y="1231"/>
                          </a:lnTo>
                          <a:lnTo>
                            <a:pt x="1518" y="1256"/>
                          </a:lnTo>
                          <a:lnTo>
                            <a:pt x="1515" y="1278"/>
                          </a:lnTo>
                          <a:lnTo>
                            <a:pt x="1482" y="1308"/>
                          </a:lnTo>
                          <a:lnTo>
                            <a:pt x="1459" y="1316"/>
                          </a:lnTo>
                          <a:lnTo>
                            <a:pt x="1440" y="1302"/>
                          </a:lnTo>
                          <a:lnTo>
                            <a:pt x="1436" y="1324"/>
                          </a:lnTo>
                          <a:lnTo>
                            <a:pt x="1419" y="1359"/>
                          </a:lnTo>
                          <a:lnTo>
                            <a:pt x="1414" y="1377"/>
                          </a:lnTo>
                          <a:lnTo>
                            <a:pt x="1394" y="1404"/>
                          </a:lnTo>
                          <a:lnTo>
                            <a:pt x="1368" y="1407"/>
                          </a:lnTo>
                          <a:lnTo>
                            <a:pt x="1356" y="1424"/>
                          </a:lnTo>
                          <a:lnTo>
                            <a:pt x="1354" y="1448"/>
                          </a:lnTo>
                          <a:lnTo>
                            <a:pt x="1334" y="1453"/>
                          </a:lnTo>
                          <a:lnTo>
                            <a:pt x="1313" y="1482"/>
                          </a:lnTo>
                          <a:lnTo>
                            <a:pt x="1295" y="1523"/>
                          </a:lnTo>
                          <a:lnTo>
                            <a:pt x="1288" y="1551"/>
                          </a:lnTo>
                          <a:lnTo>
                            <a:pt x="1287" y="1590"/>
                          </a:lnTo>
                          <a:lnTo>
                            <a:pt x="1311" y="1596"/>
                          </a:lnTo>
                          <a:lnTo>
                            <a:pt x="1321" y="1626"/>
                          </a:lnTo>
                          <a:lnTo>
                            <a:pt x="1328" y="1651"/>
                          </a:lnTo>
                          <a:lnTo>
                            <a:pt x="1351" y="1645"/>
                          </a:lnTo>
                          <a:lnTo>
                            <a:pt x="1384" y="1659"/>
                          </a:lnTo>
                          <a:lnTo>
                            <a:pt x="1400" y="1670"/>
                          </a:lnTo>
                          <a:lnTo>
                            <a:pt x="1414" y="1685"/>
                          </a:lnTo>
                          <a:lnTo>
                            <a:pt x="1436" y="1693"/>
                          </a:lnTo>
                          <a:lnTo>
                            <a:pt x="1453" y="1706"/>
                          </a:lnTo>
                          <a:lnTo>
                            <a:pt x="1482" y="1708"/>
                          </a:lnTo>
                          <a:lnTo>
                            <a:pt x="1500" y="1711"/>
                          </a:lnTo>
                          <a:lnTo>
                            <a:pt x="1497" y="1736"/>
                          </a:lnTo>
                          <a:lnTo>
                            <a:pt x="1503" y="1766"/>
                          </a:lnTo>
                          <a:lnTo>
                            <a:pt x="1515" y="1797"/>
                          </a:lnTo>
                          <a:lnTo>
                            <a:pt x="1542" y="1823"/>
                          </a:lnTo>
                          <a:lnTo>
                            <a:pt x="1554" y="1814"/>
                          </a:lnTo>
                          <a:lnTo>
                            <a:pt x="1563" y="1786"/>
                          </a:lnTo>
                          <a:lnTo>
                            <a:pt x="1554" y="1740"/>
                          </a:lnTo>
                          <a:lnTo>
                            <a:pt x="1543" y="1725"/>
                          </a:lnTo>
                          <a:lnTo>
                            <a:pt x="1571" y="1711"/>
                          </a:lnTo>
                          <a:lnTo>
                            <a:pt x="1589" y="1689"/>
                          </a:lnTo>
                          <a:lnTo>
                            <a:pt x="1598" y="1668"/>
                          </a:lnTo>
                          <a:lnTo>
                            <a:pt x="1598" y="1646"/>
                          </a:lnTo>
                          <a:lnTo>
                            <a:pt x="1586" y="1620"/>
                          </a:lnTo>
                          <a:lnTo>
                            <a:pt x="1565" y="1596"/>
                          </a:lnTo>
                          <a:lnTo>
                            <a:pt x="1586" y="1560"/>
                          </a:lnTo>
                          <a:lnTo>
                            <a:pt x="1578" y="1528"/>
                          </a:lnTo>
                          <a:lnTo>
                            <a:pt x="1572" y="1471"/>
                          </a:lnTo>
                          <a:lnTo>
                            <a:pt x="1584" y="1464"/>
                          </a:lnTo>
                          <a:lnTo>
                            <a:pt x="1614" y="1473"/>
                          </a:lnTo>
                          <a:lnTo>
                            <a:pt x="1630" y="1477"/>
                          </a:lnTo>
                          <a:lnTo>
                            <a:pt x="1646" y="1467"/>
                          </a:lnTo>
                          <a:lnTo>
                            <a:pt x="1661" y="1480"/>
                          </a:lnTo>
                          <a:lnTo>
                            <a:pt x="1683" y="1500"/>
                          </a:lnTo>
                          <a:lnTo>
                            <a:pt x="1687" y="1514"/>
                          </a:lnTo>
                          <a:lnTo>
                            <a:pt x="1718" y="1517"/>
                          </a:lnTo>
                          <a:lnTo>
                            <a:pt x="1718" y="1547"/>
                          </a:lnTo>
                          <a:lnTo>
                            <a:pt x="1724" y="1590"/>
                          </a:lnTo>
                          <a:lnTo>
                            <a:pt x="1739" y="1596"/>
                          </a:lnTo>
                          <a:lnTo>
                            <a:pt x="1752" y="1614"/>
                          </a:lnTo>
                          <a:lnTo>
                            <a:pt x="1776" y="1596"/>
                          </a:lnTo>
                          <a:lnTo>
                            <a:pt x="1793" y="1559"/>
                          </a:lnTo>
                          <a:lnTo>
                            <a:pt x="1805" y="1543"/>
                          </a:lnTo>
                          <a:lnTo>
                            <a:pt x="1818" y="1574"/>
                          </a:lnTo>
                          <a:lnTo>
                            <a:pt x="1841" y="1616"/>
                          </a:lnTo>
                          <a:lnTo>
                            <a:pt x="1859" y="1654"/>
                          </a:lnTo>
                          <a:lnTo>
                            <a:pt x="1853" y="1674"/>
                          </a:lnTo>
                          <a:lnTo>
                            <a:pt x="1876" y="1691"/>
                          </a:lnTo>
                          <a:lnTo>
                            <a:pt x="1891" y="1709"/>
                          </a:lnTo>
                          <a:lnTo>
                            <a:pt x="1919" y="1717"/>
                          </a:lnTo>
                          <a:lnTo>
                            <a:pt x="1930" y="1726"/>
                          </a:lnTo>
                          <a:lnTo>
                            <a:pt x="1936" y="1751"/>
                          </a:lnTo>
                          <a:lnTo>
                            <a:pt x="1950" y="1756"/>
                          </a:lnTo>
                          <a:lnTo>
                            <a:pt x="1956" y="1766"/>
                          </a:lnTo>
                          <a:lnTo>
                            <a:pt x="1957" y="1799"/>
                          </a:lnTo>
                          <a:lnTo>
                            <a:pt x="1945" y="1808"/>
                          </a:lnTo>
                          <a:lnTo>
                            <a:pt x="1933" y="1819"/>
                          </a:lnTo>
                          <a:lnTo>
                            <a:pt x="1905" y="1828"/>
                          </a:lnTo>
                          <a:lnTo>
                            <a:pt x="1882" y="1851"/>
                          </a:lnTo>
                          <a:lnTo>
                            <a:pt x="1854" y="1854"/>
                          </a:lnTo>
                          <a:lnTo>
                            <a:pt x="1818" y="1849"/>
                          </a:lnTo>
                          <a:lnTo>
                            <a:pt x="1792" y="1849"/>
                          </a:lnTo>
                          <a:lnTo>
                            <a:pt x="1773" y="1851"/>
                          </a:lnTo>
                          <a:lnTo>
                            <a:pt x="1759" y="1869"/>
                          </a:lnTo>
                          <a:lnTo>
                            <a:pt x="1736" y="1882"/>
                          </a:lnTo>
                          <a:lnTo>
                            <a:pt x="1712" y="1915"/>
                          </a:lnTo>
                          <a:lnTo>
                            <a:pt x="1692" y="1939"/>
                          </a:lnTo>
                          <a:lnTo>
                            <a:pt x="1707" y="1935"/>
                          </a:lnTo>
                          <a:lnTo>
                            <a:pt x="1735" y="1902"/>
                          </a:lnTo>
                          <a:lnTo>
                            <a:pt x="1770" y="1880"/>
                          </a:lnTo>
                          <a:lnTo>
                            <a:pt x="1796" y="1877"/>
                          </a:lnTo>
                          <a:lnTo>
                            <a:pt x="1811" y="1889"/>
                          </a:lnTo>
                          <a:lnTo>
                            <a:pt x="1795" y="1908"/>
                          </a:lnTo>
                          <a:lnTo>
                            <a:pt x="1801" y="1934"/>
                          </a:lnTo>
                          <a:lnTo>
                            <a:pt x="1807" y="1954"/>
                          </a:lnTo>
                          <a:lnTo>
                            <a:pt x="1828" y="1966"/>
                          </a:lnTo>
                          <a:lnTo>
                            <a:pt x="1857" y="1962"/>
                          </a:lnTo>
                          <a:lnTo>
                            <a:pt x="1874" y="1934"/>
                          </a:lnTo>
                          <a:lnTo>
                            <a:pt x="1876" y="1952"/>
                          </a:lnTo>
                          <a:close/>
                          <a:moveTo>
                            <a:pt x="1226" y="1135"/>
                          </a:moveTo>
                          <a:lnTo>
                            <a:pt x="1215" y="1156"/>
                          </a:lnTo>
                          <a:lnTo>
                            <a:pt x="1199" y="1171"/>
                          </a:lnTo>
                          <a:lnTo>
                            <a:pt x="1222" y="1193"/>
                          </a:lnTo>
                          <a:lnTo>
                            <a:pt x="1236" y="1188"/>
                          </a:lnTo>
                          <a:lnTo>
                            <a:pt x="1259" y="1202"/>
                          </a:lnTo>
                          <a:lnTo>
                            <a:pt x="1270" y="1185"/>
                          </a:lnTo>
                          <a:lnTo>
                            <a:pt x="1259" y="1167"/>
                          </a:lnTo>
                          <a:lnTo>
                            <a:pt x="1255" y="1158"/>
                          </a:lnTo>
                          <a:lnTo>
                            <a:pt x="1244" y="1148"/>
                          </a:lnTo>
                          <a:lnTo>
                            <a:pt x="1226" y="1135"/>
                          </a:lnTo>
                          <a:close/>
                          <a:moveTo>
                            <a:pt x="1471" y="1467"/>
                          </a:moveTo>
                          <a:lnTo>
                            <a:pt x="1474" y="1476"/>
                          </a:lnTo>
                          <a:lnTo>
                            <a:pt x="1486" y="1477"/>
                          </a:lnTo>
                          <a:lnTo>
                            <a:pt x="1506" y="1457"/>
                          </a:lnTo>
                          <a:lnTo>
                            <a:pt x="1508" y="1450"/>
                          </a:lnTo>
                          <a:lnTo>
                            <a:pt x="1483" y="1450"/>
                          </a:lnTo>
                          <a:lnTo>
                            <a:pt x="1471" y="1467"/>
                          </a:lnTo>
                          <a:close/>
                          <a:moveTo>
                            <a:pt x="1546" y="1496"/>
                          </a:moveTo>
                          <a:lnTo>
                            <a:pt x="1552" y="1477"/>
                          </a:lnTo>
                          <a:lnTo>
                            <a:pt x="1548" y="1470"/>
                          </a:lnTo>
                          <a:lnTo>
                            <a:pt x="1542" y="1470"/>
                          </a:lnTo>
                          <a:lnTo>
                            <a:pt x="1534" y="1480"/>
                          </a:lnTo>
                          <a:lnTo>
                            <a:pt x="1534" y="1482"/>
                          </a:lnTo>
                          <a:lnTo>
                            <a:pt x="1538" y="1493"/>
                          </a:lnTo>
                          <a:lnTo>
                            <a:pt x="1546" y="1496"/>
                          </a:lnTo>
                          <a:close/>
                          <a:moveTo>
                            <a:pt x="1245" y="950"/>
                          </a:moveTo>
                          <a:lnTo>
                            <a:pt x="1241" y="932"/>
                          </a:lnTo>
                          <a:lnTo>
                            <a:pt x="1210" y="939"/>
                          </a:lnTo>
                          <a:lnTo>
                            <a:pt x="1189" y="927"/>
                          </a:lnTo>
                          <a:lnTo>
                            <a:pt x="1169" y="956"/>
                          </a:lnTo>
                          <a:lnTo>
                            <a:pt x="1189" y="995"/>
                          </a:lnTo>
                          <a:lnTo>
                            <a:pt x="1153" y="989"/>
                          </a:lnTo>
                          <a:lnTo>
                            <a:pt x="1152" y="1007"/>
                          </a:lnTo>
                          <a:lnTo>
                            <a:pt x="1195" y="1050"/>
                          </a:lnTo>
                          <a:lnTo>
                            <a:pt x="1207" y="1070"/>
                          </a:lnTo>
                          <a:lnTo>
                            <a:pt x="1224" y="1075"/>
                          </a:lnTo>
                          <a:lnTo>
                            <a:pt x="1252" y="1055"/>
                          </a:lnTo>
                          <a:lnTo>
                            <a:pt x="1255" y="1004"/>
                          </a:lnTo>
                          <a:lnTo>
                            <a:pt x="1229" y="979"/>
                          </a:lnTo>
                          <a:lnTo>
                            <a:pt x="1245" y="950"/>
                          </a:lnTo>
                          <a:close/>
                          <a:moveTo>
                            <a:pt x="1178" y="1141"/>
                          </a:moveTo>
                          <a:lnTo>
                            <a:pt x="1147" y="1116"/>
                          </a:lnTo>
                          <a:lnTo>
                            <a:pt x="1118" y="1090"/>
                          </a:lnTo>
                          <a:lnTo>
                            <a:pt x="1114" y="1052"/>
                          </a:lnTo>
                          <a:lnTo>
                            <a:pt x="1103" y="998"/>
                          </a:lnTo>
                          <a:lnTo>
                            <a:pt x="1083" y="973"/>
                          </a:lnTo>
                          <a:lnTo>
                            <a:pt x="1066" y="964"/>
                          </a:lnTo>
                          <a:lnTo>
                            <a:pt x="1051" y="973"/>
                          </a:lnTo>
                          <a:lnTo>
                            <a:pt x="1063" y="1032"/>
                          </a:lnTo>
                          <a:lnTo>
                            <a:pt x="1055" y="1055"/>
                          </a:lnTo>
                          <a:lnTo>
                            <a:pt x="1040" y="999"/>
                          </a:lnTo>
                          <a:lnTo>
                            <a:pt x="1025" y="981"/>
                          </a:lnTo>
                          <a:lnTo>
                            <a:pt x="1006" y="1010"/>
                          </a:lnTo>
                          <a:lnTo>
                            <a:pt x="982" y="981"/>
                          </a:lnTo>
                          <a:lnTo>
                            <a:pt x="943" y="998"/>
                          </a:lnTo>
                          <a:lnTo>
                            <a:pt x="953" y="972"/>
                          </a:lnTo>
                          <a:lnTo>
                            <a:pt x="934" y="959"/>
                          </a:lnTo>
                          <a:lnTo>
                            <a:pt x="888" y="995"/>
                          </a:lnTo>
                          <a:lnTo>
                            <a:pt x="876" y="1018"/>
                          </a:lnTo>
                          <a:lnTo>
                            <a:pt x="862" y="1059"/>
                          </a:lnTo>
                          <a:lnTo>
                            <a:pt x="891" y="1075"/>
                          </a:lnTo>
                          <a:lnTo>
                            <a:pt x="919" y="1073"/>
                          </a:lnTo>
                          <a:lnTo>
                            <a:pt x="879" y="1095"/>
                          </a:lnTo>
                          <a:lnTo>
                            <a:pt x="888" y="1115"/>
                          </a:lnTo>
                          <a:lnTo>
                            <a:pt x="913" y="1115"/>
                          </a:lnTo>
                          <a:lnTo>
                            <a:pt x="949" y="1111"/>
                          </a:lnTo>
                          <a:lnTo>
                            <a:pt x="982" y="1122"/>
                          </a:lnTo>
                          <a:lnTo>
                            <a:pt x="960" y="1131"/>
                          </a:lnTo>
                          <a:lnTo>
                            <a:pt x="936" y="1130"/>
                          </a:lnTo>
                          <a:lnTo>
                            <a:pt x="908" y="1138"/>
                          </a:lnTo>
                          <a:lnTo>
                            <a:pt x="897" y="1144"/>
                          </a:lnTo>
                          <a:lnTo>
                            <a:pt x="919" y="1182"/>
                          </a:lnTo>
                          <a:lnTo>
                            <a:pt x="934" y="1178"/>
                          </a:lnTo>
                          <a:lnTo>
                            <a:pt x="957" y="1190"/>
                          </a:lnTo>
                          <a:lnTo>
                            <a:pt x="966" y="1213"/>
                          </a:lnTo>
                          <a:lnTo>
                            <a:pt x="997" y="1208"/>
                          </a:lnTo>
                          <a:lnTo>
                            <a:pt x="1041" y="1201"/>
                          </a:lnTo>
                          <a:lnTo>
                            <a:pt x="1074" y="1185"/>
                          </a:lnTo>
                          <a:lnTo>
                            <a:pt x="1094" y="1182"/>
                          </a:lnTo>
                          <a:lnTo>
                            <a:pt x="1123" y="1194"/>
                          </a:lnTo>
                          <a:lnTo>
                            <a:pt x="1153" y="1202"/>
                          </a:lnTo>
                          <a:lnTo>
                            <a:pt x="1160" y="1185"/>
                          </a:lnTo>
                          <a:lnTo>
                            <a:pt x="1149" y="1165"/>
                          </a:lnTo>
                          <a:lnTo>
                            <a:pt x="1176" y="1162"/>
                          </a:lnTo>
                          <a:lnTo>
                            <a:pt x="1178" y="1141"/>
                          </a:lnTo>
                          <a:close/>
                          <a:moveTo>
                            <a:pt x="1538" y="1417"/>
                          </a:moveTo>
                          <a:lnTo>
                            <a:pt x="1526" y="1405"/>
                          </a:lnTo>
                          <a:lnTo>
                            <a:pt x="1512" y="1408"/>
                          </a:lnTo>
                          <a:lnTo>
                            <a:pt x="1511" y="1390"/>
                          </a:lnTo>
                          <a:lnTo>
                            <a:pt x="1492" y="1377"/>
                          </a:lnTo>
                          <a:lnTo>
                            <a:pt x="1472" y="1362"/>
                          </a:lnTo>
                          <a:lnTo>
                            <a:pt x="1463" y="1351"/>
                          </a:lnTo>
                          <a:lnTo>
                            <a:pt x="1454" y="1359"/>
                          </a:lnTo>
                          <a:lnTo>
                            <a:pt x="1451" y="1341"/>
                          </a:lnTo>
                          <a:lnTo>
                            <a:pt x="1439" y="1337"/>
                          </a:lnTo>
                          <a:lnTo>
                            <a:pt x="1433" y="1374"/>
                          </a:lnTo>
                          <a:lnTo>
                            <a:pt x="1431" y="1407"/>
                          </a:lnTo>
                          <a:lnTo>
                            <a:pt x="1416" y="1425"/>
                          </a:lnTo>
                          <a:lnTo>
                            <a:pt x="1439" y="1422"/>
                          </a:lnTo>
                          <a:lnTo>
                            <a:pt x="1445" y="1444"/>
                          </a:lnTo>
                          <a:lnTo>
                            <a:pt x="1469" y="1424"/>
                          </a:lnTo>
                          <a:lnTo>
                            <a:pt x="1486" y="1404"/>
                          </a:lnTo>
                          <a:lnTo>
                            <a:pt x="1495" y="1420"/>
                          </a:lnTo>
                          <a:lnTo>
                            <a:pt x="1523" y="1430"/>
                          </a:lnTo>
                          <a:lnTo>
                            <a:pt x="1538" y="1417"/>
                          </a:lnTo>
                          <a:close/>
                          <a:moveTo>
                            <a:pt x="1364" y="315"/>
                          </a:moveTo>
                          <a:lnTo>
                            <a:pt x="1379" y="361"/>
                          </a:lnTo>
                          <a:lnTo>
                            <a:pt x="1410" y="397"/>
                          </a:lnTo>
                          <a:lnTo>
                            <a:pt x="1469" y="391"/>
                          </a:lnTo>
                          <a:lnTo>
                            <a:pt x="1508" y="403"/>
                          </a:lnTo>
                          <a:lnTo>
                            <a:pt x="1482" y="440"/>
                          </a:lnTo>
                          <a:lnTo>
                            <a:pt x="1468" y="429"/>
                          </a:lnTo>
                          <a:lnTo>
                            <a:pt x="1420" y="424"/>
                          </a:lnTo>
                          <a:lnTo>
                            <a:pt x="1428" y="475"/>
                          </a:lnTo>
                          <a:lnTo>
                            <a:pt x="1453" y="512"/>
                          </a:lnTo>
                          <a:lnTo>
                            <a:pt x="1446" y="544"/>
                          </a:lnTo>
                          <a:lnTo>
                            <a:pt x="1417" y="566"/>
                          </a:lnTo>
                          <a:lnTo>
                            <a:pt x="1403" y="600"/>
                          </a:lnTo>
                          <a:lnTo>
                            <a:pt x="1431" y="615"/>
                          </a:lnTo>
                          <a:lnTo>
                            <a:pt x="1454" y="669"/>
                          </a:lnTo>
                          <a:lnTo>
                            <a:pt x="1408" y="633"/>
                          </a:lnTo>
                          <a:lnTo>
                            <a:pt x="1397" y="638"/>
                          </a:lnTo>
                          <a:lnTo>
                            <a:pt x="1407" y="696"/>
                          </a:lnTo>
                          <a:lnTo>
                            <a:pt x="1374" y="713"/>
                          </a:lnTo>
                          <a:lnTo>
                            <a:pt x="1376" y="750"/>
                          </a:lnTo>
                          <a:lnTo>
                            <a:pt x="1410" y="753"/>
                          </a:lnTo>
                          <a:lnTo>
                            <a:pt x="1434" y="763"/>
                          </a:lnTo>
                          <a:lnTo>
                            <a:pt x="1485" y="752"/>
                          </a:lnTo>
                          <a:lnTo>
                            <a:pt x="1531" y="772"/>
                          </a:lnTo>
                          <a:lnTo>
                            <a:pt x="1575" y="727"/>
                          </a:lnTo>
                          <a:lnTo>
                            <a:pt x="1575" y="709"/>
                          </a:lnTo>
                          <a:lnTo>
                            <a:pt x="1546" y="712"/>
                          </a:lnTo>
                          <a:lnTo>
                            <a:pt x="1545" y="693"/>
                          </a:lnTo>
                          <a:lnTo>
                            <a:pt x="1568" y="670"/>
                          </a:lnTo>
                          <a:lnTo>
                            <a:pt x="1577" y="640"/>
                          </a:lnTo>
                          <a:lnTo>
                            <a:pt x="1603" y="615"/>
                          </a:lnTo>
                          <a:lnTo>
                            <a:pt x="1618" y="586"/>
                          </a:lnTo>
                          <a:lnTo>
                            <a:pt x="1604" y="543"/>
                          </a:lnTo>
                          <a:lnTo>
                            <a:pt x="1617" y="526"/>
                          </a:lnTo>
                          <a:lnTo>
                            <a:pt x="1594" y="515"/>
                          </a:lnTo>
                          <a:lnTo>
                            <a:pt x="1644" y="504"/>
                          </a:lnTo>
                          <a:lnTo>
                            <a:pt x="1657" y="484"/>
                          </a:lnTo>
                          <a:lnTo>
                            <a:pt x="1692" y="469"/>
                          </a:lnTo>
                          <a:lnTo>
                            <a:pt x="1721" y="386"/>
                          </a:lnTo>
                          <a:lnTo>
                            <a:pt x="1749" y="355"/>
                          </a:lnTo>
                          <a:lnTo>
                            <a:pt x="1790" y="288"/>
                          </a:lnTo>
                          <a:lnTo>
                            <a:pt x="1752" y="288"/>
                          </a:lnTo>
                          <a:lnTo>
                            <a:pt x="1767" y="261"/>
                          </a:lnTo>
                          <a:lnTo>
                            <a:pt x="1810" y="237"/>
                          </a:lnTo>
                          <a:lnTo>
                            <a:pt x="1851" y="183"/>
                          </a:lnTo>
                          <a:lnTo>
                            <a:pt x="1851" y="148"/>
                          </a:lnTo>
                          <a:lnTo>
                            <a:pt x="1821" y="111"/>
                          </a:lnTo>
                          <a:lnTo>
                            <a:pt x="1784" y="92"/>
                          </a:lnTo>
                          <a:lnTo>
                            <a:pt x="1738" y="82"/>
                          </a:lnTo>
                          <a:lnTo>
                            <a:pt x="1701" y="72"/>
                          </a:lnTo>
                          <a:lnTo>
                            <a:pt x="1663" y="63"/>
                          </a:lnTo>
                          <a:lnTo>
                            <a:pt x="1614" y="86"/>
                          </a:lnTo>
                          <a:lnTo>
                            <a:pt x="1604" y="71"/>
                          </a:lnTo>
                          <a:lnTo>
                            <a:pt x="1552" y="77"/>
                          </a:lnTo>
                          <a:lnTo>
                            <a:pt x="1522" y="94"/>
                          </a:lnTo>
                          <a:lnTo>
                            <a:pt x="1499" y="115"/>
                          </a:lnTo>
                          <a:lnTo>
                            <a:pt x="1485" y="188"/>
                          </a:lnTo>
                          <a:lnTo>
                            <a:pt x="1466" y="151"/>
                          </a:lnTo>
                          <a:lnTo>
                            <a:pt x="1445" y="145"/>
                          </a:lnTo>
                          <a:lnTo>
                            <a:pt x="1420" y="192"/>
                          </a:lnTo>
                          <a:lnTo>
                            <a:pt x="1387" y="214"/>
                          </a:lnTo>
                          <a:lnTo>
                            <a:pt x="1367" y="217"/>
                          </a:lnTo>
                          <a:lnTo>
                            <a:pt x="1341" y="241"/>
                          </a:lnTo>
                          <a:lnTo>
                            <a:pt x="1344" y="281"/>
                          </a:lnTo>
                          <a:lnTo>
                            <a:pt x="1364" y="315"/>
                          </a:lnTo>
                          <a:close/>
                          <a:moveTo>
                            <a:pt x="1029" y="580"/>
                          </a:moveTo>
                          <a:lnTo>
                            <a:pt x="1006" y="561"/>
                          </a:lnTo>
                          <a:lnTo>
                            <a:pt x="997" y="558"/>
                          </a:lnTo>
                          <a:lnTo>
                            <a:pt x="980" y="584"/>
                          </a:lnTo>
                          <a:lnTo>
                            <a:pt x="980" y="597"/>
                          </a:lnTo>
                          <a:lnTo>
                            <a:pt x="1008" y="597"/>
                          </a:lnTo>
                          <a:lnTo>
                            <a:pt x="1029" y="580"/>
                          </a:lnTo>
                          <a:close/>
                          <a:moveTo>
                            <a:pt x="1747" y="1135"/>
                          </a:moveTo>
                          <a:lnTo>
                            <a:pt x="1733" y="1115"/>
                          </a:lnTo>
                          <a:lnTo>
                            <a:pt x="1690" y="1095"/>
                          </a:lnTo>
                          <a:lnTo>
                            <a:pt x="1673" y="1059"/>
                          </a:lnTo>
                          <a:lnTo>
                            <a:pt x="1641" y="1072"/>
                          </a:lnTo>
                          <a:lnTo>
                            <a:pt x="1640" y="1048"/>
                          </a:lnTo>
                          <a:lnTo>
                            <a:pt x="1615" y="1022"/>
                          </a:lnTo>
                          <a:lnTo>
                            <a:pt x="1577" y="993"/>
                          </a:lnTo>
                          <a:lnTo>
                            <a:pt x="1561" y="1016"/>
                          </a:lnTo>
                          <a:lnTo>
                            <a:pt x="1526" y="1032"/>
                          </a:lnTo>
                          <a:lnTo>
                            <a:pt x="1529" y="995"/>
                          </a:lnTo>
                          <a:lnTo>
                            <a:pt x="1500" y="933"/>
                          </a:lnTo>
                          <a:lnTo>
                            <a:pt x="1456" y="958"/>
                          </a:lnTo>
                          <a:lnTo>
                            <a:pt x="1440" y="1005"/>
                          </a:lnTo>
                          <a:lnTo>
                            <a:pt x="1426" y="969"/>
                          </a:lnTo>
                          <a:lnTo>
                            <a:pt x="1439" y="930"/>
                          </a:lnTo>
                          <a:lnTo>
                            <a:pt x="1394" y="945"/>
                          </a:lnTo>
                          <a:lnTo>
                            <a:pt x="1377" y="970"/>
                          </a:lnTo>
                          <a:lnTo>
                            <a:pt x="1364" y="1022"/>
                          </a:lnTo>
                          <a:lnTo>
                            <a:pt x="1370" y="1078"/>
                          </a:lnTo>
                          <a:lnTo>
                            <a:pt x="1394" y="1078"/>
                          </a:lnTo>
                          <a:lnTo>
                            <a:pt x="1376" y="1102"/>
                          </a:lnTo>
                          <a:lnTo>
                            <a:pt x="1390" y="1121"/>
                          </a:lnTo>
                          <a:lnTo>
                            <a:pt x="1419" y="1128"/>
                          </a:lnTo>
                          <a:lnTo>
                            <a:pt x="1454" y="1144"/>
                          </a:lnTo>
                          <a:lnTo>
                            <a:pt x="1517" y="1155"/>
                          </a:lnTo>
                          <a:lnTo>
                            <a:pt x="1548" y="1148"/>
                          </a:lnTo>
                          <a:lnTo>
                            <a:pt x="1557" y="1133"/>
                          </a:lnTo>
                          <a:lnTo>
                            <a:pt x="1571" y="1150"/>
                          </a:lnTo>
                          <a:lnTo>
                            <a:pt x="1586" y="1153"/>
                          </a:lnTo>
                          <a:lnTo>
                            <a:pt x="1604" y="1184"/>
                          </a:lnTo>
                          <a:lnTo>
                            <a:pt x="1594" y="1196"/>
                          </a:lnTo>
                          <a:lnTo>
                            <a:pt x="1629" y="1211"/>
                          </a:lnTo>
                          <a:lnTo>
                            <a:pt x="1655" y="1234"/>
                          </a:lnTo>
                          <a:lnTo>
                            <a:pt x="1661" y="1250"/>
                          </a:lnTo>
                          <a:lnTo>
                            <a:pt x="1666" y="1270"/>
                          </a:lnTo>
                          <a:lnTo>
                            <a:pt x="1644" y="1313"/>
                          </a:lnTo>
                          <a:lnTo>
                            <a:pt x="1638" y="1334"/>
                          </a:lnTo>
                          <a:lnTo>
                            <a:pt x="1643" y="1348"/>
                          </a:lnTo>
                          <a:lnTo>
                            <a:pt x="1607" y="1354"/>
                          </a:lnTo>
                          <a:lnTo>
                            <a:pt x="1575" y="1354"/>
                          </a:lnTo>
                          <a:lnTo>
                            <a:pt x="1565" y="1385"/>
                          </a:lnTo>
                          <a:lnTo>
                            <a:pt x="1578" y="1399"/>
                          </a:lnTo>
                          <a:lnTo>
                            <a:pt x="1629" y="1391"/>
                          </a:lnTo>
                          <a:lnTo>
                            <a:pt x="1629" y="1381"/>
                          </a:lnTo>
                          <a:lnTo>
                            <a:pt x="1653" y="1400"/>
                          </a:lnTo>
                          <a:lnTo>
                            <a:pt x="1680" y="1420"/>
                          </a:lnTo>
                          <a:lnTo>
                            <a:pt x="1673" y="1431"/>
                          </a:lnTo>
                          <a:lnTo>
                            <a:pt x="1693" y="1450"/>
                          </a:lnTo>
                          <a:lnTo>
                            <a:pt x="1730" y="1471"/>
                          </a:lnTo>
                          <a:lnTo>
                            <a:pt x="1778" y="1485"/>
                          </a:lnTo>
                          <a:lnTo>
                            <a:pt x="1775" y="1473"/>
                          </a:lnTo>
                          <a:lnTo>
                            <a:pt x="1756" y="1450"/>
                          </a:lnTo>
                          <a:lnTo>
                            <a:pt x="1733" y="1417"/>
                          </a:lnTo>
                          <a:lnTo>
                            <a:pt x="1776" y="1448"/>
                          </a:lnTo>
                          <a:lnTo>
                            <a:pt x="1798" y="1459"/>
                          </a:lnTo>
                          <a:lnTo>
                            <a:pt x="1804" y="1431"/>
                          </a:lnTo>
                          <a:lnTo>
                            <a:pt x="1792" y="1393"/>
                          </a:lnTo>
                          <a:lnTo>
                            <a:pt x="1785" y="1382"/>
                          </a:lnTo>
                          <a:lnTo>
                            <a:pt x="1762" y="1364"/>
                          </a:lnTo>
                          <a:lnTo>
                            <a:pt x="1744" y="1339"/>
                          </a:lnTo>
                          <a:lnTo>
                            <a:pt x="1746" y="1314"/>
                          </a:lnTo>
                          <a:lnTo>
                            <a:pt x="1769" y="1310"/>
                          </a:lnTo>
                          <a:lnTo>
                            <a:pt x="1795" y="1350"/>
                          </a:lnTo>
                          <a:lnTo>
                            <a:pt x="1816" y="1368"/>
                          </a:lnTo>
                          <a:lnTo>
                            <a:pt x="1847" y="1319"/>
                          </a:lnTo>
                          <a:lnTo>
                            <a:pt x="1851" y="1288"/>
                          </a:lnTo>
                          <a:lnTo>
                            <a:pt x="1825" y="1285"/>
                          </a:lnTo>
                          <a:lnTo>
                            <a:pt x="1799" y="1245"/>
                          </a:lnTo>
                          <a:lnTo>
                            <a:pt x="1773" y="1234"/>
                          </a:lnTo>
                          <a:lnTo>
                            <a:pt x="1732" y="1204"/>
                          </a:lnTo>
                          <a:lnTo>
                            <a:pt x="1764" y="1182"/>
                          </a:lnTo>
                          <a:lnTo>
                            <a:pt x="1747" y="1135"/>
                          </a:lnTo>
                          <a:close/>
                          <a:moveTo>
                            <a:pt x="1621" y="1262"/>
                          </a:moveTo>
                          <a:lnTo>
                            <a:pt x="1624" y="1256"/>
                          </a:lnTo>
                          <a:lnTo>
                            <a:pt x="1624" y="1238"/>
                          </a:lnTo>
                          <a:lnTo>
                            <a:pt x="1611" y="1224"/>
                          </a:lnTo>
                          <a:lnTo>
                            <a:pt x="1595" y="1231"/>
                          </a:lnTo>
                          <a:lnTo>
                            <a:pt x="1588" y="1256"/>
                          </a:lnTo>
                          <a:lnTo>
                            <a:pt x="1592" y="1279"/>
                          </a:lnTo>
                          <a:lnTo>
                            <a:pt x="1611" y="1276"/>
                          </a:lnTo>
                          <a:lnTo>
                            <a:pt x="1621" y="1262"/>
                          </a:lnTo>
                          <a:close/>
                          <a:moveTo>
                            <a:pt x="1118" y="953"/>
                          </a:moveTo>
                          <a:lnTo>
                            <a:pt x="1104" y="939"/>
                          </a:lnTo>
                          <a:lnTo>
                            <a:pt x="1081" y="942"/>
                          </a:lnTo>
                          <a:lnTo>
                            <a:pt x="1077" y="950"/>
                          </a:lnTo>
                          <a:lnTo>
                            <a:pt x="1103" y="992"/>
                          </a:lnTo>
                          <a:lnTo>
                            <a:pt x="1118" y="953"/>
                          </a:lnTo>
                          <a:close/>
                          <a:moveTo>
                            <a:pt x="1199" y="859"/>
                          </a:moveTo>
                          <a:lnTo>
                            <a:pt x="1227" y="853"/>
                          </a:lnTo>
                          <a:lnTo>
                            <a:pt x="1235" y="802"/>
                          </a:lnTo>
                          <a:lnTo>
                            <a:pt x="1235" y="766"/>
                          </a:lnTo>
                          <a:lnTo>
                            <a:pt x="1221" y="732"/>
                          </a:lnTo>
                          <a:lnTo>
                            <a:pt x="1219" y="741"/>
                          </a:lnTo>
                          <a:lnTo>
                            <a:pt x="1196" y="736"/>
                          </a:lnTo>
                          <a:lnTo>
                            <a:pt x="1170" y="763"/>
                          </a:lnTo>
                          <a:lnTo>
                            <a:pt x="1152" y="759"/>
                          </a:lnTo>
                          <a:lnTo>
                            <a:pt x="1152" y="815"/>
                          </a:lnTo>
                          <a:lnTo>
                            <a:pt x="1181" y="809"/>
                          </a:lnTo>
                          <a:lnTo>
                            <a:pt x="1181" y="849"/>
                          </a:lnTo>
                          <a:lnTo>
                            <a:pt x="1199" y="859"/>
                          </a:lnTo>
                          <a:close/>
                          <a:moveTo>
                            <a:pt x="1525" y="958"/>
                          </a:moveTo>
                          <a:lnTo>
                            <a:pt x="1543" y="990"/>
                          </a:lnTo>
                          <a:lnTo>
                            <a:pt x="1549" y="993"/>
                          </a:lnTo>
                          <a:lnTo>
                            <a:pt x="1568" y="985"/>
                          </a:lnTo>
                          <a:lnTo>
                            <a:pt x="1586" y="987"/>
                          </a:lnTo>
                          <a:lnTo>
                            <a:pt x="1604" y="989"/>
                          </a:lnTo>
                          <a:lnTo>
                            <a:pt x="1603" y="972"/>
                          </a:lnTo>
                          <a:lnTo>
                            <a:pt x="1572" y="939"/>
                          </a:lnTo>
                          <a:lnTo>
                            <a:pt x="1534" y="932"/>
                          </a:lnTo>
                          <a:lnTo>
                            <a:pt x="1525" y="936"/>
                          </a:lnTo>
                          <a:lnTo>
                            <a:pt x="1525" y="958"/>
                          </a:lnTo>
                          <a:close/>
                          <a:moveTo>
                            <a:pt x="1229" y="624"/>
                          </a:moveTo>
                          <a:lnTo>
                            <a:pt x="1242" y="643"/>
                          </a:lnTo>
                          <a:lnTo>
                            <a:pt x="1267" y="626"/>
                          </a:lnTo>
                          <a:lnTo>
                            <a:pt x="1272" y="595"/>
                          </a:lnTo>
                          <a:lnTo>
                            <a:pt x="1252" y="564"/>
                          </a:lnTo>
                          <a:lnTo>
                            <a:pt x="1241" y="560"/>
                          </a:lnTo>
                          <a:lnTo>
                            <a:pt x="1219" y="555"/>
                          </a:lnTo>
                          <a:lnTo>
                            <a:pt x="1221" y="592"/>
                          </a:lnTo>
                          <a:lnTo>
                            <a:pt x="1229" y="624"/>
                          </a:lnTo>
                          <a:close/>
                          <a:moveTo>
                            <a:pt x="1123" y="573"/>
                          </a:moveTo>
                          <a:lnTo>
                            <a:pt x="1106" y="598"/>
                          </a:lnTo>
                          <a:lnTo>
                            <a:pt x="1144" y="601"/>
                          </a:lnTo>
                          <a:lnTo>
                            <a:pt x="1173" y="629"/>
                          </a:lnTo>
                          <a:lnTo>
                            <a:pt x="1201" y="638"/>
                          </a:lnTo>
                          <a:lnTo>
                            <a:pt x="1195" y="603"/>
                          </a:lnTo>
                          <a:lnTo>
                            <a:pt x="1181" y="561"/>
                          </a:lnTo>
                          <a:lnTo>
                            <a:pt x="1135" y="529"/>
                          </a:lnTo>
                          <a:lnTo>
                            <a:pt x="1101" y="517"/>
                          </a:lnTo>
                          <a:lnTo>
                            <a:pt x="1103" y="552"/>
                          </a:lnTo>
                          <a:lnTo>
                            <a:pt x="1123" y="573"/>
                          </a:lnTo>
                          <a:close/>
                          <a:moveTo>
                            <a:pt x="1282" y="510"/>
                          </a:moveTo>
                          <a:lnTo>
                            <a:pt x="1313" y="509"/>
                          </a:lnTo>
                          <a:lnTo>
                            <a:pt x="1299" y="533"/>
                          </a:lnTo>
                          <a:lnTo>
                            <a:pt x="1299" y="566"/>
                          </a:lnTo>
                          <a:lnTo>
                            <a:pt x="1318" y="601"/>
                          </a:lnTo>
                          <a:lnTo>
                            <a:pt x="1354" y="612"/>
                          </a:lnTo>
                          <a:lnTo>
                            <a:pt x="1384" y="606"/>
                          </a:lnTo>
                          <a:lnTo>
                            <a:pt x="1416" y="541"/>
                          </a:lnTo>
                          <a:lnTo>
                            <a:pt x="1440" y="513"/>
                          </a:lnTo>
                          <a:lnTo>
                            <a:pt x="1419" y="483"/>
                          </a:lnTo>
                          <a:lnTo>
                            <a:pt x="1405" y="417"/>
                          </a:lnTo>
                          <a:lnTo>
                            <a:pt x="1377" y="397"/>
                          </a:lnTo>
                          <a:lnTo>
                            <a:pt x="1348" y="375"/>
                          </a:lnTo>
                          <a:lnTo>
                            <a:pt x="1327" y="317"/>
                          </a:lnTo>
                          <a:lnTo>
                            <a:pt x="1287" y="321"/>
                          </a:lnTo>
                          <a:lnTo>
                            <a:pt x="1293" y="347"/>
                          </a:lnTo>
                          <a:lnTo>
                            <a:pt x="1276" y="355"/>
                          </a:lnTo>
                          <a:lnTo>
                            <a:pt x="1264" y="387"/>
                          </a:lnTo>
                          <a:lnTo>
                            <a:pt x="1252" y="434"/>
                          </a:lnTo>
                          <a:lnTo>
                            <a:pt x="1264" y="478"/>
                          </a:lnTo>
                          <a:lnTo>
                            <a:pt x="1282" y="510"/>
                          </a:lnTo>
                          <a:close/>
                          <a:moveTo>
                            <a:pt x="1295" y="1035"/>
                          </a:moveTo>
                          <a:lnTo>
                            <a:pt x="1313" y="992"/>
                          </a:lnTo>
                          <a:lnTo>
                            <a:pt x="1333" y="979"/>
                          </a:lnTo>
                          <a:lnTo>
                            <a:pt x="1359" y="927"/>
                          </a:lnTo>
                          <a:lnTo>
                            <a:pt x="1325" y="912"/>
                          </a:lnTo>
                          <a:lnTo>
                            <a:pt x="1290" y="909"/>
                          </a:lnTo>
                          <a:lnTo>
                            <a:pt x="1273" y="925"/>
                          </a:lnTo>
                          <a:lnTo>
                            <a:pt x="1264" y="952"/>
                          </a:lnTo>
                          <a:lnTo>
                            <a:pt x="1264" y="981"/>
                          </a:lnTo>
                          <a:lnTo>
                            <a:pt x="1275" y="1032"/>
                          </a:lnTo>
                          <a:lnTo>
                            <a:pt x="1295" y="1035"/>
                          </a:lnTo>
                          <a:close/>
                          <a:moveTo>
                            <a:pt x="1302" y="670"/>
                          </a:moveTo>
                          <a:lnTo>
                            <a:pt x="1304" y="661"/>
                          </a:lnTo>
                          <a:lnTo>
                            <a:pt x="1291" y="646"/>
                          </a:lnTo>
                          <a:lnTo>
                            <a:pt x="1256" y="644"/>
                          </a:lnTo>
                          <a:lnTo>
                            <a:pt x="1261" y="667"/>
                          </a:lnTo>
                          <a:lnTo>
                            <a:pt x="1293" y="672"/>
                          </a:lnTo>
                          <a:lnTo>
                            <a:pt x="1302" y="670"/>
                          </a:lnTo>
                          <a:close/>
                          <a:moveTo>
                            <a:pt x="1296" y="879"/>
                          </a:moveTo>
                          <a:lnTo>
                            <a:pt x="1305" y="855"/>
                          </a:lnTo>
                          <a:lnTo>
                            <a:pt x="1299" y="833"/>
                          </a:lnTo>
                          <a:lnTo>
                            <a:pt x="1284" y="809"/>
                          </a:lnTo>
                          <a:lnTo>
                            <a:pt x="1259" y="827"/>
                          </a:lnTo>
                          <a:lnTo>
                            <a:pt x="1250" y="858"/>
                          </a:lnTo>
                          <a:lnTo>
                            <a:pt x="1272" y="875"/>
                          </a:lnTo>
                          <a:lnTo>
                            <a:pt x="1296" y="879"/>
                          </a:lnTo>
                          <a:close/>
                          <a:moveTo>
                            <a:pt x="1399" y="893"/>
                          </a:moveTo>
                          <a:lnTo>
                            <a:pt x="1434" y="892"/>
                          </a:lnTo>
                          <a:lnTo>
                            <a:pt x="1485" y="881"/>
                          </a:lnTo>
                          <a:lnTo>
                            <a:pt x="1506" y="890"/>
                          </a:lnTo>
                          <a:lnTo>
                            <a:pt x="1532" y="876"/>
                          </a:lnTo>
                          <a:lnTo>
                            <a:pt x="1543" y="858"/>
                          </a:lnTo>
                          <a:lnTo>
                            <a:pt x="1538" y="830"/>
                          </a:lnTo>
                          <a:lnTo>
                            <a:pt x="1520" y="804"/>
                          </a:lnTo>
                          <a:lnTo>
                            <a:pt x="1492" y="799"/>
                          </a:lnTo>
                          <a:lnTo>
                            <a:pt x="1457" y="806"/>
                          </a:lnTo>
                          <a:lnTo>
                            <a:pt x="1430" y="821"/>
                          </a:lnTo>
                          <a:lnTo>
                            <a:pt x="1405" y="815"/>
                          </a:lnTo>
                          <a:lnTo>
                            <a:pt x="1382" y="812"/>
                          </a:lnTo>
                          <a:lnTo>
                            <a:pt x="1371" y="795"/>
                          </a:lnTo>
                          <a:lnTo>
                            <a:pt x="1351" y="779"/>
                          </a:lnTo>
                          <a:lnTo>
                            <a:pt x="1354" y="752"/>
                          </a:lnTo>
                          <a:lnTo>
                            <a:pt x="1341" y="727"/>
                          </a:lnTo>
                          <a:lnTo>
                            <a:pt x="1307" y="727"/>
                          </a:lnTo>
                          <a:lnTo>
                            <a:pt x="1287" y="703"/>
                          </a:lnTo>
                          <a:lnTo>
                            <a:pt x="1252" y="698"/>
                          </a:lnTo>
                          <a:lnTo>
                            <a:pt x="1245" y="729"/>
                          </a:lnTo>
                          <a:lnTo>
                            <a:pt x="1265" y="752"/>
                          </a:lnTo>
                          <a:lnTo>
                            <a:pt x="1301" y="761"/>
                          </a:lnTo>
                          <a:lnTo>
                            <a:pt x="1318" y="792"/>
                          </a:lnTo>
                          <a:lnTo>
                            <a:pt x="1321" y="827"/>
                          </a:lnTo>
                          <a:lnTo>
                            <a:pt x="1325" y="864"/>
                          </a:lnTo>
                          <a:lnTo>
                            <a:pt x="1371" y="884"/>
                          </a:lnTo>
                          <a:lnTo>
                            <a:pt x="1399" y="893"/>
                          </a:lnTo>
                          <a:close/>
                        </a:path>
                      </a:pathLst>
                    </a:custGeom>
                    <a:solidFill>
                      <a:srgbClr val="D9D9D9"/>
                    </a:solidFill>
                    <a:ln w="4763" cap="flat">
                      <a:solidFill>
                        <a:srgbClr val="FFFFFF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endParaRPr lang="en-GB" sz="1000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2" name="Asia" descr="{&quot;Key&quot;:&quot;asia&quot;,&quot;Name&quot;:&quot;Asia&quot;,&quot;Value&quot;:1.0,&quot;Formula&quot;:&quot;&quot;,&quot;Text&quot;:&quot;&quot;,&quot;OfficeApplication&quot;:1,&quot;HasValue&quot;:true}">
                      <a:extLst>
                        <a:ext uri="{FF2B5EF4-FFF2-40B4-BE49-F238E27FC236}">
                          <a16:creationId xmlns:a16="http://schemas.microsoft.com/office/drawing/2014/main" id="{522E8001-7C9B-4CB6-96E8-CF2E9F506FEC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196" y="317"/>
                      <a:ext cx="2683" cy="2711"/>
                    </a:xfrm>
                    <a:custGeom>
                      <a:avLst/>
                      <a:gdLst>
                        <a:gd name="T0" fmla="*/ 1526 w 2683"/>
                        <a:gd name="T1" fmla="*/ 2346 h 2711"/>
                        <a:gd name="T2" fmla="*/ 1508 w 2683"/>
                        <a:gd name="T3" fmla="*/ 2327 h 2711"/>
                        <a:gd name="T4" fmla="*/ 1595 w 2683"/>
                        <a:gd name="T5" fmla="*/ 2675 h 2711"/>
                        <a:gd name="T6" fmla="*/ 1566 w 2683"/>
                        <a:gd name="T7" fmla="*/ 2355 h 2711"/>
                        <a:gd name="T8" fmla="*/ 1581 w 2683"/>
                        <a:gd name="T9" fmla="*/ 2426 h 2711"/>
                        <a:gd name="T10" fmla="*/ 1727 w 2683"/>
                        <a:gd name="T11" fmla="*/ 1875 h 2711"/>
                        <a:gd name="T12" fmla="*/ 1824 w 2683"/>
                        <a:gd name="T13" fmla="*/ 1889 h 2711"/>
                        <a:gd name="T14" fmla="*/ 1874 w 2683"/>
                        <a:gd name="T15" fmla="*/ 1557 h 2711"/>
                        <a:gd name="T16" fmla="*/ 469 w 2683"/>
                        <a:gd name="T17" fmla="*/ 2089 h 2711"/>
                        <a:gd name="T18" fmla="*/ 250 w 2683"/>
                        <a:gd name="T19" fmla="*/ 2038 h 2711"/>
                        <a:gd name="T20" fmla="*/ 330 w 2683"/>
                        <a:gd name="T21" fmla="*/ 2106 h 2711"/>
                        <a:gd name="T22" fmla="*/ 423 w 2683"/>
                        <a:gd name="T23" fmla="*/ 2163 h 2711"/>
                        <a:gd name="T24" fmla="*/ 308 w 2683"/>
                        <a:gd name="T25" fmla="*/ 2263 h 2711"/>
                        <a:gd name="T26" fmla="*/ 144 w 2683"/>
                        <a:gd name="T27" fmla="*/ 2269 h 2711"/>
                        <a:gd name="T28" fmla="*/ 50 w 2683"/>
                        <a:gd name="T29" fmla="*/ 2089 h 2711"/>
                        <a:gd name="T30" fmla="*/ 30 w 2683"/>
                        <a:gd name="T31" fmla="*/ 1898 h 2711"/>
                        <a:gd name="T32" fmla="*/ 181 w 2683"/>
                        <a:gd name="T33" fmla="*/ 1789 h 2711"/>
                        <a:gd name="T34" fmla="*/ 325 w 2683"/>
                        <a:gd name="T35" fmla="*/ 1798 h 2711"/>
                        <a:gd name="T36" fmla="*/ 308 w 2683"/>
                        <a:gd name="T37" fmla="*/ 1657 h 2711"/>
                        <a:gd name="T38" fmla="*/ 350 w 2683"/>
                        <a:gd name="T39" fmla="*/ 1511 h 2711"/>
                        <a:gd name="T40" fmla="*/ 391 w 2683"/>
                        <a:gd name="T41" fmla="*/ 1414 h 2711"/>
                        <a:gd name="T42" fmla="*/ 590 w 2683"/>
                        <a:gd name="T43" fmla="*/ 916 h 2711"/>
                        <a:gd name="T44" fmla="*/ 656 w 2683"/>
                        <a:gd name="T45" fmla="*/ 1002 h 2711"/>
                        <a:gd name="T46" fmla="*/ 813 w 2683"/>
                        <a:gd name="T47" fmla="*/ 731 h 2711"/>
                        <a:gd name="T48" fmla="*/ 1212 w 2683"/>
                        <a:gd name="T49" fmla="*/ 384 h 2711"/>
                        <a:gd name="T50" fmla="*/ 1531 w 2683"/>
                        <a:gd name="T51" fmla="*/ 616 h 2711"/>
                        <a:gd name="T52" fmla="*/ 2146 w 2683"/>
                        <a:gd name="T53" fmla="*/ 779 h 2711"/>
                        <a:gd name="T54" fmla="*/ 2601 w 2683"/>
                        <a:gd name="T55" fmla="*/ 962 h 2711"/>
                        <a:gd name="T56" fmla="*/ 2463 w 2683"/>
                        <a:gd name="T57" fmla="*/ 1067 h 2711"/>
                        <a:gd name="T58" fmla="*/ 2219 w 2683"/>
                        <a:gd name="T59" fmla="*/ 1317 h 2711"/>
                        <a:gd name="T60" fmla="*/ 2241 w 2683"/>
                        <a:gd name="T61" fmla="*/ 1147 h 2711"/>
                        <a:gd name="T62" fmla="*/ 1801 w 2683"/>
                        <a:gd name="T63" fmla="*/ 1420 h 2711"/>
                        <a:gd name="T64" fmla="*/ 1643 w 2683"/>
                        <a:gd name="T65" fmla="*/ 1763 h 2711"/>
                        <a:gd name="T66" fmla="*/ 1593 w 2683"/>
                        <a:gd name="T67" fmla="*/ 1851 h 2711"/>
                        <a:gd name="T68" fmla="*/ 1514 w 2683"/>
                        <a:gd name="T69" fmla="*/ 1774 h 2711"/>
                        <a:gd name="T70" fmla="*/ 1486 w 2683"/>
                        <a:gd name="T71" fmla="*/ 1924 h 2711"/>
                        <a:gd name="T72" fmla="*/ 1317 w 2683"/>
                        <a:gd name="T73" fmla="*/ 2156 h 2711"/>
                        <a:gd name="T74" fmla="*/ 1215 w 2683"/>
                        <a:gd name="T75" fmla="*/ 2373 h 2711"/>
                        <a:gd name="T76" fmla="*/ 1172 w 2683"/>
                        <a:gd name="T77" fmla="*/ 2427 h 2711"/>
                        <a:gd name="T78" fmla="*/ 1124 w 2683"/>
                        <a:gd name="T79" fmla="*/ 2406 h 2711"/>
                        <a:gd name="T80" fmla="*/ 1034 w 2683"/>
                        <a:gd name="T81" fmla="*/ 2215 h 2711"/>
                        <a:gd name="T82" fmla="*/ 900 w 2683"/>
                        <a:gd name="T83" fmla="*/ 2180 h 2711"/>
                        <a:gd name="T84" fmla="*/ 728 w 2683"/>
                        <a:gd name="T85" fmla="*/ 2379 h 2711"/>
                        <a:gd name="T86" fmla="*/ 554 w 2683"/>
                        <a:gd name="T87" fmla="*/ 2081 h 2711"/>
                        <a:gd name="T88" fmla="*/ 1899 w 2683"/>
                        <a:gd name="T89" fmla="*/ 1691 h 2711"/>
                        <a:gd name="T90" fmla="*/ 1681 w 2683"/>
                        <a:gd name="T91" fmla="*/ 2581 h 2711"/>
                        <a:gd name="T92" fmla="*/ 1477 w 2683"/>
                        <a:gd name="T93" fmla="*/ 2273 h 2711"/>
                        <a:gd name="T94" fmla="*/ 1514 w 2683"/>
                        <a:gd name="T95" fmla="*/ 2250 h 2711"/>
                        <a:gd name="T96" fmla="*/ 1689 w 2683"/>
                        <a:gd name="T97" fmla="*/ 1923 h 2711"/>
                        <a:gd name="T98" fmla="*/ 1092 w 2683"/>
                        <a:gd name="T99" fmla="*/ 249 h 2711"/>
                        <a:gd name="T100" fmla="*/ 1817 w 2683"/>
                        <a:gd name="T101" fmla="*/ 639 h 2711"/>
                        <a:gd name="T102" fmla="*/ 2525 w 2683"/>
                        <a:gd name="T103" fmla="*/ 742 h 2711"/>
                        <a:gd name="T104" fmla="*/ 1190 w 2683"/>
                        <a:gd name="T105" fmla="*/ 2544 h 2711"/>
                        <a:gd name="T106" fmla="*/ 1147 w 2683"/>
                        <a:gd name="T107" fmla="*/ 2567 h 2711"/>
                        <a:gd name="T108" fmla="*/ 1480 w 2683"/>
                        <a:gd name="T109" fmla="*/ 2708 h 2711"/>
                        <a:gd name="T110" fmla="*/ 1552 w 2683"/>
                        <a:gd name="T111" fmla="*/ 2525 h 2711"/>
                        <a:gd name="T112" fmla="*/ 1492 w 2683"/>
                        <a:gd name="T113" fmla="*/ 2578 h 2711"/>
                        <a:gd name="T114" fmla="*/ 1488 w 2683"/>
                        <a:gd name="T115" fmla="*/ 2675 h 2711"/>
                        <a:gd name="T116" fmla="*/ 1435 w 2683"/>
                        <a:gd name="T117" fmla="*/ 2430 h 2711"/>
                        <a:gd name="T118" fmla="*/ 1307 w 2683"/>
                        <a:gd name="T119" fmla="*/ 2582 h 2711"/>
                        <a:gd name="T120" fmla="*/ 1281 w 2683"/>
                        <a:gd name="T121" fmla="*/ 2210 h 2711"/>
                        <a:gd name="T122" fmla="*/ 1330 w 2683"/>
                        <a:gd name="T123" fmla="*/ 2675 h 27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2683" h="2711">
                          <a:moveTo>
                            <a:pt x="1620" y="2545"/>
                          </a:moveTo>
                          <a:lnTo>
                            <a:pt x="1612" y="2536"/>
                          </a:lnTo>
                          <a:lnTo>
                            <a:pt x="1615" y="2527"/>
                          </a:lnTo>
                          <a:lnTo>
                            <a:pt x="1624" y="2529"/>
                          </a:lnTo>
                          <a:lnTo>
                            <a:pt x="1624" y="2513"/>
                          </a:lnTo>
                          <a:lnTo>
                            <a:pt x="1623" y="2505"/>
                          </a:lnTo>
                          <a:lnTo>
                            <a:pt x="1613" y="2504"/>
                          </a:lnTo>
                          <a:lnTo>
                            <a:pt x="1612" y="2495"/>
                          </a:lnTo>
                          <a:lnTo>
                            <a:pt x="1606" y="2501"/>
                          </a:lnTo>
                          <a:lnTo>
                            <a:pt x="1603" y="2515"/>
                          </a:lnTo>
                          <a:lnTo>
                            <a:pt x="1607" y="2538"/>
                          </a:lnTo>
                          <a:lnTo>
                            <a:pt x="1615" y="2548"/>
                          </a:lnTo>
                          <a:lnTo>
                            <a:pt x="1620" y="2545"/>
                          </a:lnTo>
                          <a:close/>
                          <a:moveTo>
                            <a:pt x="1581" y="2595"/>
                          </a:moveTo>
                          <a:lnTo>
                            <a:pt x="1593" y="2598"/>
                          </a:lnTo>
                          <a:lnTo>
                            <a:pt x="1600" y="2592"/>
                          </a:lnTo>
                          <a:lnTo>
                            <a:pt x="1595" y="2585"/>
                          </a:lnTo>
                          <a:lnTo>
                            <a:pt x="1578" y="2587"/>
                          </a:lnTo>
                          <a:lnTo>
                            <a:pt x="1581" y="2595"/>
                          </a:lnTo>
                          <a:close/>
                          <a:moveTo>
                            <a:pt x="1526" y="2346"/>
                          </a:moveTo>
                          <a:lnTo>
                            <a:pt x="1524" y="2356"/>
                          </a:lnTo>
                          <a:lnTo>
                            <a:pt x="1520" y="2361"/>
                          </a:lnTo>
                          <a:lnTo>
                            <a:pt x="1517" y="2366"/>
                          </a:lnTo>
                          <a:lnTo>
                            <a:pt x="1526" y="2378"/>
                          </a:lnTo>
                          <a:lnTo>
                            <a:pt x="1532" y="2372"/>
                          </a:lnTo>
                          <a:lnTo>
                            <a:pt x="1538" y="2361"/>
                          </a:lnTo>
                          <a:lnTo>
                            <a:pt x="1544" y="2355"/>
                          </a:lnTo>
                          <a:lnTo>
                            <a:pt x="1546" y="2339"/>
                          </a:lnTo>
                          <a:lnTo>
                            <a:pt x="1532" y="2355"/>
                          </a:lnTo>
                          <a:lnTo>
                            <a:pt x="1535" y="2344"/>
                          </a:lnTo>
                          <a:lnTo>
                            <a:pt x="1526" y="2346"/>
                          </a:lnTo>
                          <a:close/>
                          <a:moveTo>
                            <a:pt x="1508" y="2327"/>
                          </a:moveTo>
                          <a:lnTo>
                            <a:pt x="1511" y="2335"/>
                          </a:lnTo>
                          <a:lnTo>
                            <a:pt x="1509" y="2344"/>
                          </a:lnTo>
                          <a:lnTo>
                            <a:pt x="1509" y="2353"/>
                          </a:lnTo>
                          <a:lnTo>
                            <a:pt x="1520" y="2347"/>
                          </a:lnTo>
                          <a:lnTo>
                            <a:pt x="1529" y="2339"/>
                          </a:lnTo>
                          <a:lnTo>
                            <a:pt x="1529" y="2333"/>
                          </a:lnTo>
                          <a:lnTo>
                            <a:pt x="1518" y="2333"/>
                          </a:lnTo>
                          <a:lnTo>
                            <a:pt x="1508" y="2327"/>
                          </a:lnTo>
                          <a:close/>
                          <a:moveTo>
                            <a:pt x="1489" y="2313"/>
                          </a:moveTo>
                          <a:lnTo>
                            <a:pt x="1497" y="2321"/>
                          </a:lnTo>
                          <a:lnTo>
                            <a:pt x="1501" y="2307"/>
                          </a:lnTo>
                          <a:lnTo>
                            <a:pt x="1495" y="2299"/>
                          </a:lnTo>
                          <a:lnTo>
                            <a:pt x="1480" y="2299"/>
                          </a:lnTo>
                          <a:lnTo>
                            <a:pt x="1489" y="2313"/>
                          </a:lnTo>
                          <a:close/>
                          <a:moveTo>
                            <a:pt x="1589" y="2676"/>
                          </a:moveTo>
                          <a:lnTo>
                            <a:pt x="1578" y="2678"/>
                          </a:lnTo>
                          <a:lnTo>
                            <a:pt x="1563" y="2681"/>
                          </a:lnTo>
                          <a:lnTo>
                            <a:pt x="1561" y="2685"/>
                          </a:lnTo>
                          <a:lnTo>
                            <a:pt x="1544" y="2693"/>
                          </a:lnTo>
                          <a:lnTo>
                            <a:pt x="1537" y="2702"/>
                          </a:lnTo>
                          <a:lnTo>
                            <a:pt x="1535" y="2708"/>
                          </a:lnTo>
                          <a:lnTo>
                            <a:pt x="1537" y="2711"/>
                          </a:lnTo>
                          <a:lnTo>
                            <a:pt x="1552" y="2707"/>
                          </a:lnTo>
                          <a:lnTo>
                            <a:pt x="1563" y="2695"/>
                          </a:lnTo>
                          <a:lnTo>
                            <a:pt x="1577" y="2688"/>
                          </a:lnTo>
                          <a:lnTo>
                            <a:pt x="1595" y="2682"/>
                          </a:lnTo>
                          <a:lnTo>
                            <a:pt x="1601" y="2676"/>
                          </a:lnTo>
                          <a:lnTo>
                            <a:pt x="1595" y="2675"/>
                          </a:lnTo>
                          <a:lnTo>
                            <a:pt x="1589" y="2676"/>
                          </a:lnTo>
                          <a:close/>
                          <a:moveTo>
                            <a:pt x="1495" y="2132"/>
                          </a:moveTo>
                          <a:lnTo>
                            <a:pt x="1506" y="2101"/>
                          </a:lnTo>
                          <a:lnTo>
                            <a:pt x="1509" y="2090"/>
                          </a:lnTo>
                          <a:lnTo>
                            <a:pt x="1501" y="2084"/>
                          </a:lnTo>
                          <a:lnTo>
                            <a:pt x="1488" y="2098"/>
                          </a:lnTo>
                          <a:lnTo>
                            <a:pt x="1477" y="2117"/>
                          </a:lnTo>
                          <a:lnTo>
                            <a:pt x="1478" y="2130"/>
                          </a:lnTo>
                          <a:lnTo>
                            <a:pt x="1488" y="2146"/>
                          </a:lnTo>
                          <a:lnTo>
                            <a:pt x="1495" y="2132"/>
                          </a:lnTo>
                          <a:close/>
                          <a:moveTo>
                            <a:pt x="1570" y="2323"/>
                          </a:moveTo>
                          <a:lnTo>
                            <a:pt x="1564" y="2316"/>
                          </a:lnTo>
                          <a:lnTo>
                            <a:pt x="1549" y="2316"/>
                          </a:lnTo>
                          <a:lnTo>
                            <a:pt x="1560" y="2329"/>
                          </a:lnTo>
                          <a:lnTo>
                            <a:pt x="1560" y="2336"/>
                          </a:lnTo>
                          <a:lnTo>
                            <a:pt x="1549" y="2335"/>
                          </a:lnTo>
                          <a:lnTo>
                            <a:pt x="1552" y="2346"/>
                          </a:lnTo>
                          <a:lnTo>
                            <a:pt x="1557" y="2346"/>
                          </a:lnTo>
                          <a:lnTo>
                            <a:pt x="1558" y="2358"/>
                          </a:lnTo>
                          <a:lnTo>
                            <a:pt x="1566" y="2355"/>
                          </a:lnTo>
                          <a:lnTo>
                            <a:pt x="1561" y="2344"/>
                          </a:lnTo>
                          <a:lnTo>
                            <a:pt x="1561" y="2338"/>
                          </a:lnTo>
                          <a:lnTo>
                            <a:pt x="1575" y="2342"/>
                          </a:lnTo>
                          <a:lnTo>
                            <a:pt x="1570" y="2323"/>
                          </a:lnTo>
                          <a:close/>
                          <a:moveTo>
                            <a:pt x="1535" y="2382"/>
                          </a:moveTo>
                          <a:lnTo>
                            <a:pt x="1526" y="2390"/>
                          </a:lnTo>
                          <a:lnTo>
                            <a:pt x="1515" y="2395"/>
                          </a:lnTo>
                          <a:lnTo>
                            <a:pt x="1508" y="2409"/>
                          </a:lnTo>
                          <a:lnTo>
                            <a:pt x="1511" y="2413"/>
                          </a:lnTo>
                          <a:lnTo>
                            <a:pt x="1524" y="2404"/>
                          </a:lnTo>
                          <a:lnTo>
                            <a:pt x="1532" y="2406"/>
                          </a:lnTo>
                          <a:lnTo>
                            <a:pt x="1537" y="2398"/>
                          </a:lnTo>
                          <a:lnTo>
                            <a:pt x="1547" y="2406"/>
                          </a:lnTo>
                          <a:lnTo>
                            <a:pt x="1543" y="2415"/>
                          </a:lnTo>
                          <a:lnTo>
                            <a:pt x="1547" y="2427"/>
                          </a:lnTo>
                          <a:lnTo>
                            <a:pt x="1567" y="2436"/>
                          </a:lnTo>
                          <a:lnTo>
                            <a:pt x="1574" y="2429"/>
                          </a:lnTo>
                          <a:lnTo>
                            <a:pt x="1567" y="2416"/>
                          </a:lnTo>
                          <a:lnTo>
                            <a:pt x="1575" y="2407"/>
                          </a:lnTo>
                          <a:lnTo>
                            <a:pt x="1581" y="2426"/>
                          </a:lnTo>
                          <a:lnTo>
                            <a:pt x="1587" y="2409"/>
                          </a:lnTo>
                          <a:lnTo>
                            <a:pt x="1586" y="2399"/>
                          </a:lnTo>
                          <a:lnTo>
                            <a:pt x="1584" y="2387"/>
                          </a:lnTo>
                          <a:lnTo>
                            <a:pt x="1583" y="2381"/>
                          </a:lnTo>
                          <a:lnTo>
                            <a:pt x="1583" y="2373"/>
                          </a:lnTo>
                          <a:lnTo>
                            <a:pt x="1567" y="2364"/>
                          </a:lnTo>
                          <a:lnTo>
                            <a:pt x="1569" y="2378"/>
                          </a:lnTo>
                          <a:lnTo>
                            <a:pt x="1557" y="2378"/>
                          </a:lnTo>
                          <a:lnTo>
                            <a:pt x="1554" y="2386"/>
                          </a:lnTo>
                          <a:lnTo>
                            <a:pt x="1541" y="2390"/>
                          </a:lnTo>
                          <a:lnTo>
                            <a:pt x="1535" y="2382"/>
                          </a:lnTo>
                          <a:close/>
                          <a:moveTo>
                            <a:pt x="1825" y="1755"/>
                          </a:moveTo>
                          <a:lnTo>
                            <a:pt x="1817" y="1771"/>
                          </a:lnTo>
                          <a:lnTo>
                            <a:pt x="1820" y="1795"/>
                          </a:lnTo>
                          <a:lnTo>
                            <a:pt x="1810" y="1823"/>
                          </a:lnTo>
                          <a:lnTo>
                            <a:pt x="1799" y="1831"/>
                          </a:lnTo>
                          <a:lnTo>
                            <a:pt x="1774" y="1852"/>
                          </a:lnTo>
                          <a:lnTo>
                            <a:pt x="1762" y="1843"/>
                          </a:lnTo>
                          <a:lnTo>
                            <a:pt x="1745" y="1880"/>
                          </a:lnTo>
                          <a:lnTo>
                            <a:pt x="1727" y="1875"/>
                          </a:lnTo>
                          <a:lnTo>
                            <a:pt x="1692" y="1883"/>
                          </a:lnTo>
                          <a:lnTo>
                            <a:pt x="1679" y="1897"/>
                          </a:lnTo>
                          <a:lnTo>
                            <a:pt x="1663" y="1907"/>
                          </a:lnTo>
                          <a:lnTo>
                            <a:pt x="1653" y="1920"/>
                          </a:lnTo>
                          <a:lnTo>
                            <a:pt x="1636" y="1926"/>
                          </a:lnTo>
                          <a:lnTo>
                            <a:pt x="1644" y="1941"/>
                          </a:lnTo>
                          <a:lnTo>
                            <a:pt x="1655" y="1946"/>
                          </a:lnTo>
                          <a:lnTo>
                            <a:pt x="1650" y="1964"/>
                          </a:lnTo>
                          <a:lnTo>
                            <a:pt x="1659" y="1972"/>
                          </a:lnTo>
                          <a:lnTo>
                            <a:pt x="1670" y="1964"/>
                          </a:lnTo>
                          <a:lnTo>
                            <a:pt x="1681" y="1929"/>
                          </a:lnTo>
                          <a:lnTo>
                            <a:pt x="1664" y="1915"/>
                          </a:lnTo>
                          <a:lnTo>
                            <a:pt x="1684" y="1914"/>
                          </a:lnTo>
                          <a:lnTo>
                            <a:pt x="1705" y="1904"/>
                          </a:lnTo>
                          <a:lnTo>
                            <a:pt x="1735" y="1900"/>
                          </a:lnTo>
                          <a:lnTo>
                            <a:pt x="1736" y="1915"/>
                          </a:lnTo>
                          <a:lnTo>
                            <a:pt x="1747" y="1923"/>
                          </a:lnTo>
                          <a:lnTo>
                            <a:pt x="1771" y="1900"/>
                          </a:lnTo>
                          <a:lnTo>
                            <a:pt x="1802" y="1898"/>
                          </a:lnTo>
                          <a:lnTo>
                            <a:pt x="1824" y="1889"/>
                          </a:lnTo>
                          <a:lnTo>
                            <a:pt x="1833" y="1874"/>
                          </a:lnTo>
                          <a:lnTo>
                            <a:pt x="1830" y="1863"/>
                          </a:lnTo>
                          <a:lnTo>
                            <a:pt x="1836" y="1846"/>
                          </a:lnTo>
                          <a:lnTo>
                            <a:pt x="1836" y="1823"/>
                          </a:lnTo>
                          <a:lnTo>
                            <a:pt x="1851" y="1801"/>
                          </a:lnTo>
                          <a:lnTo>
                            <a:pt x="1853" y="1783"/>
                          </a:lnTo>
                          <a:lnTo>
                            <a:pt x="1843" y="1752"/>
                          </a:lnTo>
                          <a:lnTo>
                            <a:pt x="1825" y="1755"/>
                          </a:lnTo>
                          <a:close/>
                          <a:moveTo>
                            <a:pt x="1847" y="1486"/>
                          </a:moveTo>
                          <a:lnTo>
                            <a:pt x="1857" y="1514"/>
                          </a:lnTo>
                          <a:lnTo>
                            <a:pt x="1856" y="1549"/>
                          </a:lnTo>
                          <a:lnTo>
                            <a:pt x="1853" y="1569"/>
                          </a:lnTo>
                          <a:lnTo>
                            <a:pt x="1854" y="1597"/>
                          </a:lnTo>
                          <a:lnTo>
                            <a:pt x="1853" y="1622"/>
                          </a:lnTo>
                          <a:lnTo>
                            <a:pt x="1856" y="1643"/>
                          </a:lnTo>
                          <a:lnTo>
                            <a:pt x="1867" y="1623"/>
                          </a:lnTo>
                          <a:lnTo>
                            <a:pt x="1880" y="1638"/>
                          </a:lnTo>
                          <a:lnTo>
                            <a:pt x="1880" y="1622"/>
                          </a:lnTo>
                          <a:lnTo>
                            <a:pt x="1863" y="1595"/>
                          </a:lnTo>
                          <a:lnTo>
                            <a:pt x="1874" y="1557"/>
                          </a:lnTo>
                          <a:lnTo>
                            <a:pt x="1899" y="1566"/>
                          </a:lnTo>
                          <a:lnTo>
                            <a:pt x="1882" y="1519"/>
                          </a:lnTo>
                          <a:lnTo>
                            <a:pt x="1874" y="1491"/>
                          </a:lnTo>
                          <a:lnTo>
                            <a:pt x="1876" y="1463"/>
                          </a:lnTo>
                          <a:lnTo>
                            <a:pt x="1870" y="1436"/>
                          </a:lnTo>
                          <a:lnTo>
                            <a:pt x="1865" y="1417"/>
                          </a:lnTo>
                          <a:lnTo>
                            <a:pt x="1857" y="1420"/>
                          </a:lnTo>
                          <a:lnTo>
                            <a:pt x="1863" y="1434"/>
                          </a:lnTo>
                          <a:lnTo>
                            <a:pt x="1848" y="1448"/>
                          </a:lnTo>
                          <a:lnTo>
                            <a:pt x="1847" y="1486"/>
                          </a:lnTo>
                          <a:close/>
                          <a:moveTo>
                            <a:pt x="1636" y="2581"/>
                          </a:moveTo>
                          <a:lnTo>
                            <a:pt x="1615" y="2581"/>
                          </a:lnTo>
                          <a:lnTo>
                            <a:pt x="1610" y="2590"/>
                          </a:lnTo>
                          <a:lnTo>
                            <a:pt x="1623" y="2592"/>
                          </a:lnTo>
                          <a:lnTo>
                            <a:pt x="1633" y="2590"/>
                          </a:lnTo>
                          <a:lnTo>
                            <a:pt x="1647" y="2592"/>
                          </a:lnTo>
                          <a:lnTo>
                            <a:pt x="1661" y="2599"/>
                          </a:lnTo>
                          <a:lnTo>
                            <a:pt x="1655" y="2585"/>
                          </a:lnTo>
                          <a:lnTo>
                            <a:pt x="1636" y="2581"/>
                          </a:lnTo>
                          <a:close/>
                          <a:moveTo>
                            <a:pt x="469" y="2089"/>
                          </a:moveTo>
                          <a:lnTo>
                            <a:pt x="437" y="2083"/>
                          </a:lnTo>
                          <a:lnTo>
                            <a:pt x="417" y="2078"/>
                          </a:lnTo>
                          <a:lnTo>
                            <a:pt x="399" y="2075"/>
                          </a:lnTo>
                          <a:lnTo>
                            <a:pt x="391" y="2052"/>
                          </a:lnTo>
                          <a:lnTo>
                            <a:pt x="383" y="2049"/>
                          </a:lnTo>
                          <a:lnTo>
                            <a:pt x="369" y="2052"/>
                          </a:lnTo>
                          <a:lnTo>
                            <a:pt x="353" y="2061"/>
                          </a:lnTo>
                          <a:lnTo>
                            <a:pt x="331" y="2055"/>
                          </a:lnTo>
                          <a:lnTo>
                            <a:pt x="314" y="2041"/>
                          </a:lnTo>
                          <a:lnTo>
                            <a:pt x="297" y="2035"/>
                          </a:lnTo>
                          <a:lnTo>
                            <a:pt x="285" y="2017"/>
                          </a:lnTo>
                          <a:lnTo>
                            <a:pt x="273" y="1990"/>
                          </a:lnTo>
                          <a:lnTo>
                            <a:pt x="264" y="1994"/>
                          </a:lnTo>
                          <a:lnTo>
                            <a:pt x="253" y="1987"/>
                          </a:lnTo>
                          <a:lnTo>
                            <a:pt x="247" y="1995"/>
                          </a:lnTo>
                          <a:lnTo>
                            <a:pt x="236" y="1994"/>
                          </a:lnTo>
                          <a:lnTo>
                            <a:pt x="239" y="2003"/>
                          </a:lnTo>
                          <a:lnTo>
                            <a:pt x="238" y="2007"/>
                          </a:lnTo>
                          <a:lnTo>
                            <a:pt x="244" y="2021"/>
                          </a:lnTo>
                          <a:lnTo>
                            <a:pt x="250" y="2038"/>
                          </a:lnTo>
                          <a:lnTo>
                            <a:pt x="259" y="2043"/>
                          </a:lnTo>
                          <a:lnTo>
                            <a:pt x="262" y="2049"/>
                          </a:lnTo>
                          <a:lnTo>
                            <a:pt x="273" y="2058"/>
                          </a:lnTo>
                          <a:lnTo>
                            <a:pt x="274" y="2066"/>
                          </a:lnTo>
                          <a:lnTo>
                            <a:pt x="273" y="2072"/>
                          </a:lnTo>
                          <a:lnTo>
                            <a:pt x="274" y="2078"/>
                          </a:lnTo>
                          <a:lnTo>
                            <a:pt x="281" y="2084"/>
                          </a:lnTo>
                          <a:lnTo>
                            <a:pt x="282" y="2090"/>
                          </a:lnTo>
                          <a:lnTo>
                            <a:pt x="285" y="2095"/>
                          </a:lnTo>
                          <a:lnTo>
                            <a:pt x="284" y="2081"/>
                          </a:lnTo>
                          <a:lnTo>
                            <a:pt x="288" y="2070"/>
                          </a:lnTo>
                          <a:lnTo>
                            <a:pt x="293" y="2069"/>
                          </a:lnTo>
                          <a:lnTo>
                            <a:pt x="299" y="2075"/>
                          </a:lnTo>
                          <a:lnTo>
                            <a:pt x="299" y="2086"/>
                          </a:lnTo>
                          <a:lnTo>
                            <a:pt x="294" y="2097"/>
                          </a:lnTo>
                          <a:lnTo>
                            <a:pt x="297" y="2104"/>
                          </a:lnTo>
                          <a:lnTo>
                            <a:pt x="300" y="2103"/>
                          </a:lnTo>
                          <a:lnTo>
                            <a:pt x="302" y="2109"/>
                          </a:lnTo>
                          <a:lnTo>
                            <a:pt x="316" y="2106"/>
                          </a:lnTo>
                          <a:lnTo>
                            <a:pt x="330" y="2106"/>
                          </a:lnTo>
                          <a:lnTo>
                            <a:pt x="340" y="2106"/>
                          </a:lnTo>
                          <a:lnTo>
                            <a:pt x="351" y="2093"/>
                          </a:lnTo>
                          <a:lnTo>
                            <a:pt x="365" y="2081"/>
                          </a:lnTo>
                          <a:lnTo>
                            <a:pt x="376" y="2070"/>
                          </a:lnTo>
                          <a:lnTo>
                            <a:pt x="380" y="2063"/>
                          </a:lnTo>
                          <a:lnTo>
                            <a:pt x="383" y="2064"/>
                          </a:lnTo>
                          <a:lnTo>
                            <a:pt x="380" y="2073"/>
                          </a:lnTo>
                          <a:lnTo>
                            <a:pt x="379" y="2077"/>
                          </a:lnTo>
                          <a:lnTo>
                            <a:pt x="382" y="2092"/>
                          </a:lnTo>
                          <a:lnTo>
                            <a:pt x="389" y="2104"/>
                          </a:lnTo>
                          <a:lnTo>
                            <a:pt x="399" y="2110"/>
                          </a:lnTo>
                          <a:lnTo>
                            <a:pt x="411" y="2113"/>
                          </a:lnTo>
                          <a:lnTo>
                            <a:pt x="422" y="2117"/>
                          </a:lnTo>
                          <a:lnTo>
                            <a:pt x="429" y="2127"/>
                          </a:lnTo>
                          <a:lnTo>
                            <a:pt x="434" y="2133"/>
                          </a:lnTo>
                          <a:lnTo>
                            <a:pt x="440" y="2137"/>
                          </a:lnTo>
                          <a:lnTo>
                            <a:pt x="440" y="2140"/>
                          </a:lnTo>
                          <a:lnTo>
                            <a:pt x="434" y="2152"/>
                          </a:lnTo>
                          <a:lnTo>
                            <a:pt x="431" y="2156"/>
                          </a:lnTo>
                          <a:lnTo>
                            <a:pt x="423" y="2163"/>
                          </a:lnTo>
                          <a:lnTo>
                            <a:pt x="417" y="2175"/>
                          </a:lnTo>
                          <a:lnTo>
                            <a:pt x="409" y="2173"/>
                          </a:lnTo>
                          <a:lnTo>
                            <a:pt x="406" y="2178"/>
                          </a:lnTo>
                          <a:lnTo>
                            <a:pt x="403" y="2187"/>
                          </a:lnTo>
                          <a:lnTo>
                            <a:pt x="405" y="2200"/>
                          </a:lnTo>
                          <a:lnTo>
                            <a:pt x="403" y="2201"/>
                          </a:lnTo>
                          <a:lnTo>
                            <a:pt x="396" y="2201"/>
                          </a:lnTo>
                          <a:lnTo>
                            <a:pt x="385" y="2209"/>
                          </a:lnTo>
                          <a:lnTo>
                            <a:pt x="383" y="2218"/>
                          </a:lnTo>
                          <a:lnTo>
                            <a:pt x="379" y="2221"/>
                          </a:lnTo>
                          <a:lnTo>
                            <a:pt x="368" y="2221"/>
                          </a:lnTo>
                          <a:lnTo>
                            <a:pt x="362" y="2226"/>
                          </a:lnTo>
                          <a:lnTo>
                            <a:pt x="362" y="2233"/>
                          </a:lnTo>
                          <a:lnTo>
                            <a:pt x="354" y="2238"/>
                          </a:lnTo>
                          <a:lnTo>
                            <a:pt x="343" y="2236"/>
                          </a:lnTo>
                          <a:lnTo>
                            <a:pt x="333" y="2243"/>
                          </a:lnTo>
                          <a:lnTo>
                            <a:pt x="325" y="2243"/>
                          </a:lnTo>
                          <a:lnTo>
                            <a:pt x="313" y="2247"/>
                          </a:lnTo>
                          <a:lnTo>
                            <a:pt x="308" y="2256"/>
                          </a:lnTo>
                          <a:lnTo>
                            <a:pt x="308" y="2263"/>
                          </a:lnTo>
                          <a:lnTo>
                            <a:pt x="291" y="2269"/>
                          </a:lnTo>
                          <a:lnTo>
                            <a:pt x="264" y="2278"/>
                          </a:lnTo>
                          <a:lnTo>
                            <a:pt x="248" y="2290"/>
                          </a:lnTo>
                          <a:lnTo>
                            <a:pt x="241" y="2292"/>
                          </a:lnTo>
                          <a:lnTo>
                            <a:pt x="236" y="2290"/>
                          </a:lnTo>
                          <a:lnTo>
                            <a:pt x="225" y="2298"/>
                          </a:lnTo>
                          <a:lnTo>
                            <a:pt x="215" y="2301"/>
                          </a:lnTo>
                          <a:lnTo>
                            <a:pt x="201" y="2301"/>
                          </a:lnTo>
                          <a:lnTo>
                            <a:pt x="196" y="2303"/>
                          </a:lnTo>
                          <a:lnTo>
                            <a:pt x="192" y="2307"/>
                          </a:lnTo>
                          <a:lnTo>
                            <a:pt x="187" y="2309"/>
                          </a:lnTo>
                          <a:lnTo>
                            <a:pt x="185" y="2313"/>
                          </a:lnTo>
                          <a:lnTo>
                            <a:pt x="176" y="2313"/>
                          </a:lnTo>
                          <a:lnTo>
                            <a:pt x="170" y="2315"/>
                          </a:lnTo>
                          <a:lnTo>
                            <a:pt x="159" y="2315"/>
                          </a:lnTo>
                          <a:lnTo>
                            <a:pt x="155" y="2304"/>
                          </a:lnTo>
                          <a:lnTo>
                            <a:pt x="155" y="2295"/>
                          </a:lnTo>
                          <a:lnTo>
                            <a:pt x="152" y="2289"/>
                          </a:lnTo>
                          <a:lnTo>
                            <a:pt x="149" y="2276"/>
                          </a:lnTo>
                          <a:lnTo>
                            <a:pt x="144" y="2269"/>
                          </a:lnTo>
                          <a:lnTo>
                            <a:pt x="147" y="2267"/>
                          </a:lnTo>
                          <a:lnTo>
                            <a:pt x="146" y="2259"/>
                          </a:lnTo>
                          <a:lnTo>
                            <a:pt x="147" y="2256"/>
                          </a:lnTo>
                          <a:lnTo>
                            <a:pt x="147" y="2249"/>
                          </a:lnTo>
                          <a:lnTo>
                            <a:pt x="144" y="2241"/>
                          </a:lnTo>
                          <a:lnTo>
                            <a:pt x="139" y="2235"/>
                          </a:lnTo>
                          <a:lnTo>
                            <a:pt x="138" y="2229"/>
                          </a:lnTo>
                          <a:lnTo>
                            <a:pt x="129" y="2223"/>
                          </a:lnTo>
                          <a:lnTo>
                            <a:pt x="119" y="2207"/>
                          </a:lnTo>
                          <a:lnTo>
                            <a:pt x="115" y="2192"/>
                          </a:lnTo>
                          <a:lnTo>
                            <a:pt x="103" y="2180"/>
                          </a:lnTo>
                          <a:lnTo>
                            <a:pt x="95" y="2176"/>
                          </a:lnTo>
                          <a:lnTo>
                            <a:pt x="84" y="2160"/>
                          </a:lnTo>
                          <a:lnTo>
                            <a:pt x="83" y="2146"/>
                          </a:lnTo>
                          <a:lnTo>
                            <a:pt x="83" y="2135"/>
                          </a:lnTo>
                          <a:lnTo>
                            <a:pt x="73" y="2115"/>
                          </a:lnTo>
                          <a:lnTo>
                            <a:pt x="64" y="2107"/>
                          </a:lnTo>
                          <a:lnTo>
                            <a:pt x="55" y="2103"/>
                          </a:lnTo>
                          <a:lnTo>
                            <a:pt x="50" y="2092"/>
                          </a:lnTo>
                          <a:lnTo>
                            <a:pt x="50" y="2089"/>
                          </a:lnTo>
                          <a:lnTo>
                            <a:pt x="46" y="2078"/>
                          </a:lnTo>
                          <a:lnTo>
                            <a:pt x="41" y="2073"/>
                          </a:lnTo>
                          <a:lnTo>
                            <a:pt x="35" y="2060"/>
                          </a:lnTo>
                          <a:lnTo>
                            <a:pt x="24" y="2044"/>
                          </a:lnTo>
                          <a:lnTo>
                            <a:pt x="15" y="2030"/>
                          </a:lnTo>
                          <a:lnTo>
                            <a:pt x="6" y="2030"/>
                          </a:lnTo>
                          <a:lnTo>
                            <a:pt x="9" y="2021"/>
                          </a:lnTo>
                          <a:lnTo>
                            <a:pt x="11" y="2014"/>
                          </a:lnTo>
                          <a:lnTo>
                            <a:pt x="12" y="2006"/>
                          </a:lnTo>
                          <a:lnTo>
                            <a:pt x="12" y="2003"/>
                          </a:lnTo>
                          <a:lnTo>
                            <a:pt x="0" y="1969"/>
                          </a:lnTo>
                          <a:lnTo>
                            <a:pt x="6" y="1963"/>
                          </a:lnTo>
                          <a:lnTo>
                            <a:pt x="4" y="1961"/>
                          </a:lnTo>
                          <a:lnTo>
                            <a:pt x="9" y="1952"/>
                          </a:lnTo>
                          <a:lnTo>
                            <a:pt x="12" y="1937"/>
                          </a:lnTo>
                          <a:lnTo>
                            <a:pt x="15" y="1931"/>
                          </a:lnTo>
                          <a:lnTo>
                            <a:pt x="15" y="1931"/>
                          </a:lnTo>
                          <a:lnTo>
                            <a:pt x="21" y="1914"/>
                          </a:lnTo>
                          <a:lnTo>
                            <a:pt x="30" y="1900"/>
                          </a:lnTo>
                          <a:lnTo>
                            <a:pt x="30" y="1898"/>
                          </a:lnTo>
                          <a:lnTo>
                            <a:pt x="29" y="1883"/>
                          </a:lnTo>
                          <a:lnTo>
                            <a:pt x="32" y="1874"/>
                          </a:lnTo>
                          <a:lnTo>
                            <a:pt x="37" y="1869"/>
                          </a:lnTo>
                          <a:lnTo>
                            <a:pt x="41" y="1864"/>
                          </a:lnTo>
                          <a:lnTo>
                            <a:pt x="43" y="1852"/>
                          </a:lnTo>
                          <a:lnTo>
                            <a:pt x="49" y="1857"/>
                          </a:lnTo>
                          <a:lnTo>
                            <a:pt x="67" y="1851"/>
                          </a:lnTo>
                          <a:lnTo>
                            <a:pt x="77" y="1855"/>
                          </a:lnTo>
                          <a:lnTo>
                            <a:pt x="90" y="1855"/>
                          </a:lnTo>
                          <a:lnTo>
                            <a:pt x="110" y="1848"/>
                          </a:lnTo>
                          <a:lnTo>
                            <a:pt x="119" y="1848"/>
                          </a:lnTo>
                          <a:lnTo>
                            <a:pt x="139" y="1844"/>
                          </a:lnTo>
                          <a:lnTo>
                            <a:pt x="147" y="1840"/>
                          </a:lnTo>
                          <a:lnTo>
                            <a:pt x="167" y="1843"/>
                          </a:lnTo>
                          <a:lnTo>
                            <a:pt x="173" y="1849"/>
                          </a:lnTo>
                          <a:lnTo>
                            <a:pt x="181" y="1846"/>
                          </a:lnTo>
                          <a:lnTo>
                            <a:pt x="172" y="1828"/>
                          </a:lnTo>
                          <a:lnTo>
                            <a:pt x="175" y="1821"/>
                          </a:lnTo>
                          <a:lnTo>
                            <a:pt x="170" y="1795"/>
                          </a:lnTo>
                          <a:lnTo>
                            <a:pt x="181" y="1789"/>
                          </a:lnTo>
                          <a:lnTo>
                            <a:pt x="184" y="1798"/>
                          </a:lnTo>
                          <a:lnTo>
                            <a:pt x="193" y="1808"/>
                          </a:lnTo>
                          <a:lnTo>
                            <a:pt x="205" y="1811"/>
                          </a:lnTo>
                          <a:lnTo>
                            <a:pt x="211" y="1811"/>
                          </a:lnTo>
                          <a:lnTo>
                            <a:pt x="231" y="1794"/>
                          </a:lnTo>
                          <a:lnTo>
                            <a:pt x="238" y="1792"/>
                          </a:lnTo>
                          <a:lnTo>
                            <a:pt x="242" y="1798"/>
                          </a:lnTo>
                          <a:lnTo>
                            <a:pt x="236" y="1811"/>
                          </a:lnTo>
                          <a:lnTo>
                            <a:pt x="247" y="1821"/>
                          </a:lnTo>
                          <a:lnTo>
                            <a:pt x="251" y="1820"/>
                          </a:lnTo>
                          <a:lnTo>
                            <a:pt x="258" y="1837"/>
                          </a:lnTo>
                          <a:lnTo>
                            <a:pt x="273" y="1841"/>
                          </a:lnTo>
                          <a:lnTo>
                            <a:pt x="285" y="1852"/>
                          </a:lnTo>
                          <a:lnTo>
                            <a:pt x="310" y="1855"/>
                          </a:lnTo>
                          <a:lnTo>
                            <a:pt x="337" y="1849"/>
                          </a:lnTo>
                          <a:lnTo>
                            <a:pt x="339" y="1844"/>
                          </a:lnTo>
                          <a:lnTo>
                            <a:pt x="339" y="1844"/>
                          </a:lnTo>
                          <a:lnTo>
                            <a:pt x="336" y="1829"/>
                          </a:lnTo>
                          <a:lnTo>
                            <a:pt x="339" y="1806"/>
                          </a:lnTo>
                          <a:lnTo>
                            <a:pt x="325" y="1798"/>
                          </a:lnTo>
                          <a:lnTo>
                            <a:pt x="330" y="1783"/>
                          </a:lnTo>
                          <a:lnTo>
                            <a:pt x="317" y="1783"/>
                          </a:lnTo>
                          <a:lnTo>
                            <a:pt x="322" y="1763"/>
                          </a:lnTo>
                          <a:lnTo>
                            <a:pt x="337" y="1769"/>
                          </a:lnTo>
                          <a:lnTo>
                            <a:pt x="353" y="1761"/>
                          </a:lnTo>
                          <a:lnTo>
                            <a:pt x="340" y="1748"/>
                          </a:lnTo>
                          <a:lnTo>
                            <a:pt x="336" y="1735"/>
                          </a:lnTo>
                          <a:lnTo>
                            <a:pt x="322" y="1740"/>
                          </a:lnTo>
                          <a:lnTo>
                            <a:pt x="320" y="1757"/>
                          </a:lnTo>
                          <a:lnTo>
                            <a:pt x="314" y="1743"/>
                          </a:lnTo>
                          <a:lnTo>
                            <a:pt x="313" y="1737"/>
                          </a:lnTo>
                          <a:lnTo>
                            <a:pt x="317" y="1728"/>
                          </a:lnTo>
                          <a:lnTo>
                            <a:pt x="314" y="1718"/>
                          </a:lnTo>
                          <a:lnTo>
                            <a:pt x="294" y="1711"/>
                          </a:lnTo>
                          <a:lnTo>
                            <a:pt x="287" y="1689"/>
                          </a:lnTo>
                          <a:lnTo>
                            <a:pt x="277" y="1683"/>
                          </a:lnTo>
                          <a:lnTo>
                            <a:pt x="276" y="1675"/>
                          </a:lnTo>
                          <a:lnTo>
                            <a:pt x="293" y="1678"/>
                          </a:lnTo>
                          <a:lnTo>
                            <a:pt x="294" y="1660"/>
                          </a:lnTo>
                          <a:lnTo>
                            <a:pt x="308" y="1657"/>
                          </a:lnTo>
                          <a:lnTo>
                            <a:pt x="323" y="1660"/>
                          </a:lnTo>
                          <a:lnTo>
                            <a:pt x="327" y="1635"/>
                          </a:lnTo>
                          <a:lnTo>
                            <a:pt x="323" y="1620"/>
                          </a:lnTo>
                          <a:lnTo>
                            <a:pt x="307" y="1622"/>
                          </a:lnTo>
                          <a:lnTo>
                            <a:pt x="291" y="1615"/>
                          </a:lnTo>
                          <a:lnTo>
                            <a:pt x="271" y="1626"/>
                          </a:lnTo>
                          <a:lnTo>
                            <a:pt x="256" y="1632"/>
                          </a:lnTo>
                          <a:lnTo>
                            <a:pt x="247" y="1628"/>
                          </a:lnTo>
                          <a:lnTo>
                            <a:pt x="248" y="1615"/>
                          </a:lnTo>
                          <a:lnTo>
                            <a:pt x="238" y="1598"/>
                          </a:lnTo>
                          <a:lnTo>
                            <a:pt x="225" y="1598"/>
                          </a:lnTo>
                          <a:lnTo>
                            <a:pt x="210" y="1582"/>
                          </a:lnTo>
                          <a:lnTo>
                            <a:pt x="221" y="1562"/>
                          </a:lnTo>
                          <a:lnTo>
                            <a:pt x="216" y="1557"/>
                          </a:lnTo>
                          <a:lnTo>
                            <a:pt x="228" y="1526"/>
                          </a:lnTo>
                          <a:lnTo>
                            <a:pt x="247" y="1543"/>
                          </a:lnTo>
                          <a:lnTo>
                            <a:pt x="248" y="1523"/>
                          </a:lnTo>
                          <a:lnTo>
                            <a:pt x="285" y="1492"/>
                          </a:lnTo>
                          <a:lnTo>
                            <a:pt x="311" y="1492"/>
                          </a:lnTo>
                          <a:lnTo>
                            <a:pt x="350" y="1511"/>
                          </a:lnTo>
                          <a:lnTo>
                            <a:pt x="369" y="1522"/>
                          </a:lnTo>
                          <a:lnTo>
                            <a:pt x="388" y="1511"/>
                          </a:lnTo>
                          <a:lnTo>
                            <a:pt x="415" y="1511"/>
                          </a:lnTo>
                          <a:lnTo>
                            <a:pt x="437" y="1525"/>
                          </a:lnTo>
                          <a:lnTo>
                            <a:pt x="442" y="1517"/>
                          </a:lnTo>
                          <a:lnTo>
                            <a:pt x="466" y="1517"/>
                          </a:lnTo>
                          <a:lnTo>
                            <a:pt x="471" y="1505"/>
                          </a:lnTo>
                          <a:lnTo>
                            <a:pt x="443" y="1485"/>
                          </a:lnTo>
                          <a:lnTo>
                            <a:pt x="445" y="1483"/>
                          </a:lnTo>
                          <a:lnTo>
                            <a:pt x="443" y="1483"/>
                          </a:lnTo>
                          <a:lnTo>
                            <a:pt x="438" y="1471"/>
                          </a:lnTo>
                          <a:lnTo>
                            <a:pt x="426" y="1468"/>
                          </a:lnTo>
                          <a:lnTo>
                            <a:pt x="426" y="1451"/>
                          </a:lnTo>
                          <a:lnTo>
                            <a:pt x="432" y="1437"/>
                          </a:lnTo>
                          <a:lnTo>
                            <a:pt x="442" y="1429"/>
                          </a:lnTo>
                          <a:lnTo>
                            <a:pt x="437" y="1419"/>
                          </a:lnTo>
                          <a:lnTo>
                            <a:pt x="425" y="1411"/>
                          </a:lnTo>
                          <a:lnTo>
                            <a:pt x="414" y="1419"/>
                          </a:lnTo>
                          <a:lnTo>
                            <a:pt x="402" y="1428"/>
                          </a:lnTo>
                          <a:lnTo>
                            <a:pt x="391" y="1414"/>
                          </a:lnTo>
                          <a:lnTo>
                            <a:pt x="383" y="1402"/>
                          </a:lnTo>
                          <a:lnTo>
                            <a:pt x="376" y="1388"/>
                          </a:lnTo>
                          <a:lnTo>
                            <a:pt x="396" y="1385"/>
                          </a:lnTo>
                          <a:lnTo>
                            <a:pt x="411" y="1380"/>
                          </a:lnTo>
                          <a:lnTo>
                            <a:pt x="420" y="1365"/>
                          </a:lnTo>
                          <a:lnTo>
                            <a:pt x="419" y="1351"/>
                          </a:lnTo>
                          <a:lnTo>
                            <a:pt x="406" y="1340"/>
                          </a:lnTo>
                          <a:lnTo>
                            <a:pt x="409" y="1325"/>
                          </a:lnTo>
                          <a:lnTo>
                            <a:pt x="423" y="1309"/>
                          </a:lnTo>
                          <a:lnTo>
                            <a:pt x="434" y="1286"/>
                          </a:lnTo>
                          <a:lnTo>
                            <a:pt x="445" y="1256"/>
                          </a:lnTo>
                          <a:lnTo>
                            <a:pt x="452" y="1202"/>
                          </a:lnTo>
                          <a:lnTo>
                            <a:pt x="465" y="1079"/>
                          </a:lnTo>
                          <a:lnTo>
                            <a:pt x="497" y="1054"/>
                          </a:lnTo>
                          <a:lnTo>
                            <a:pt x="526" y="1020"/>
                          </a:lnTo>
                          <a:lnTo>
                            <a:pt x="550" y="1002"/>
                          </a:lnTo>
                          <a:lnTo>
                            <a:pt x="573" y="977"/>
                          </a:lnTo>
                          <a:lnTo>
                            <a:pt x="586" y="953"/>
                          </a:lnTo>
                          <a:lnTo>
                            <a:pt x="580" y="908"/>
                          </a:lnTo>
                          <a:lnTo>
                            <a:pt x="590" y="916"/>
                          </a:lnTo>
                          <a:lnTo>
                            <a:pt x="601" y="891"/>
                          </a:lnTo>
                          <a:lnTo>
                            <a:pt x="584" y="867"/>
                          </a:lnTo>
                          <a:lnTo>
                            <a:pt x="583" y="856"/>
                          </a:lnTo>
                          <a:lnTo>
                            <a:pt x="563" y="851"/>
                          </a:lnTo>
                          <a:lnTo>
                            <a:pt x="569" y="828"/>
                          </a:lnTo>
                          <a:lnTo>
                            <a:pt x="560" y="788"/>
                          </a:lnTo>
                          <a:lnTo>
                            <a:pt x="558" y="771"/>
                          </a:lnTo>
                          <a:lnTo>
                            <a:pt x="590" y="722"/>
                          </a:lnTo>
                          <a:lnTo>
                            <a:pt x="601" y="670"/>
                          </a:lnTo>
                          <a:lnTo>
                            <a:pt x="615" y="659"/>
                          </a:lnTo>
                          <a:lnTo>
                            <a:pt x="659" y="675"/>
                          </a:lnTo>
                          <a:lnTo>
                            <a:pt x="664" y="705"/>
                          </a:lnTo>
                          <a:lnTo>
                            <a:pt x="647" y="751"/>
                          </a:lnTo>
                          <a:lnTo>
                            <a:pt x="658" y="768"/>
                          </a:lnTo>
                          <a:lnTo>
                            <a:pt x="664" y="804"/>
                          </a:lnTo>
                          <a:lnTo>
                            <a:pt x="659" y="873"/>
                          </a:lnTo>
                          <a:lnTo>
                            <a:pt x="678" y="902"/>
                          </a:lnTo>
                          <a:lnTo>
                            <a:pt x="672" y="933"/>
                          </a:lnTo>
                          <a:lnTo>
                            <a:pt x="638" y="994"/>
                          </a:lnTo>
                          <a:lnTo>
                            <a:pt x="656" y="1002"/>
                          </a:lnTo>
                          <a:lnTo>
                            <a:pt x="664" y="985"/>
                          </a:lnTo>
                          <a:lnTo>
                            <a:pt x="682" y="974"/>
                          </a:lnTo>
                          <a:lnTo>
                            <a:pt x="687" y="953"/>
                          </a:lnTo>
                          <a:lnTo>
                            <a:pt x="702" y="931"/>
                          </a:lnTo>
                          <a:lnTo>
                            <a:pt x="692" y="905"/>
                          </a:lnTo>
                          <a:lnTo>
                            <a:pt x="701" y="874"/>
                          </a:lnTo>
                          <a:lnTo>
                            <a:pt x="681" y="870"/>
                          </a:lnTo>
                          <a:lnTo>
                            <a:pt x="678" y="842"/>
                          </a:lnTo>
                          <a:lnTo>
                            <a:pt x="692" y="791"/>
                          </a:lnTo>
                          <a:lnTo>
                            <a:pt x="669" y="748"/>
                          </a:lnTo>
                          <a:lnTo>
                            <a:pt x="699" y="711"/>
                          </a:lnTo>
                          <a:lnTo>
                            <a:pt x="696" y="672"/>
                          </a:lnTo>
                          <a:lnTo>
                            <a:pt x="704" y="670"/>
                          </a:lnTo>
                          <a:lnTo>
                            <a:pt x="713" y="701"/>
                          </a:lnTo>
                          <a:lnTo>
                            <a:pt x="707" y="755"/>
                          </a:lnTo>
                          <a:lnTo>
                            <a:pt x="725" y="764"/>
                          </a:lnTo>
                          <a:lnTo>
                            <a:pt x="716" y="725"/>
                          </a:lnTo>
                          <a:lnTo>
                            <a:pt x="745" y="704"/>
                          </a:lnTo>
                          <a:lnTo>
                            <a:pt x="781" y="701"/>
                          </a:lnTo>
                          <a:lnTo>
                            <a:pt x="813" y="731"/>
                          </a:lnTo>
                          <a:lnTo>
                            <a:pt x="797" y="685"/>
                          </a:lnTo>
                          <a:lnTo>
                            <a:pt x="796" y="622"/>
                          </a:lnTo>
                          <a:lnTo>
                            <a:pt x="827" y="610"/>
                          </a:lnTo>
                          <a:lnTo>
                            <a:pt x="868" y="613"/>
                          </a:lnTo>
                          <a:lnTo>
                            <a:pt x="905" y="604"/>
                          </a:lnTo>
                          <a:lnTo>
                            <a:pt x="891" y="572"/>
                          </a:lnTo>
                          <a:lnTo>
                            <a:pt x="911" y="529"/>
                          </a:lnTo>
                          <a:lnTo>
                            <a:pt x="931" y="525"/>
                          </a:lnTo>
                          <a:lnTo>
                            <a:pt x="963" y="492"/>
                          </a:lnTo>
                          <a:lnTo>
                            <a:pt x="1009" y="482"/>
                          </a:lnTo>
                          <a:lnTo>
                            <a:pt x="1015" y="464"/>
                          </a:lnTo>
                          <a:lnTo>
                            <a:pt x="1060" y="456"/>
                          </a:lnTo>
                          <a:lnTo>
                            <a:pt x="1074" y="473"/>
                          </a:lnTo>
                          <a:lnTo>
                            <a:pt x="1113" y="435"/>
                          </a:lnTo>
                          <a:lnTo>
                            <a:pt x="1144" y="436"/>
                          </a:lnTo>
                          <a:lnTo>
                            <a:pt x="1149" y="404"/>
                          </a:lnTo>
                          <a:lnTo>
                            <a:pt x="1166" y="370"/>
                          </a:lnTo>
                          <a:lnTo>
                            <a:pt x="1205" y="338"/>
                          </a:lnTo>
                          <a:lnTo>
                            <a:pt x="1236" y="364"/>
                          </a:lnTo>
                          <a:lnTo>
                            <a:pt x="1212" y="384"/>
                          </a:lnTo>
                          <a:lnTo>
                            <a:pt x="1251" y="395"/>
                          </a:lnTo>
                          <a:lnTo>
                            <a:pt x="1256" y="432"/>
                          </a:lnTo>
                          <a:lnTo>
                            <a:pt x="1271" y="415"/>
                          </a:lnTo>
                          <a:lnTo>
                            <a:pt x="1322" y="415"/>
                          </a:lnTo>
                          <a:lnTo>
                            <a:pt x="1360" y="452"/>
                          </a:lnTo>
                          <a:lnTo>
                            <a:pt x="1374" y="478"/>
                          </a:lnTo>
                          <a:lnTo>
                            <a:pt x="1370" y="513"/>
                          </a:lnTo>
                          <a:lnTo>
                            <a:pt x="1351" y="533"/>
                          </a:lnTo>
                          <a:lnTo>
                            <a:pt x="1307" y="570"/>
                          </a:lnTo>
                          <a:lnTo>
                            <a:pt x="1293" y="588"/>
                          </a:lnTo>
                          <a:lnTo>
                            <a:pt x="1314" y="598"/>
                          </a:lnTo>
                          <a:lnTo>
                            <a:pt x="1340" y="613"/>
                          </a:lnTo>
                          <a:lnTo>
                            <a:pt x="1356" y="602"/>
                          </a:lnTo>
                          <a:lnTo>
                            <a:pt x="1363" y="641"/>
                          </a:lnTo>
                          <a:lnTo>
                            <a:pt x="1371" y="625"/>
                          </a:lnTo>
                          <a:lnTo>
                            <a:pt x="1399" y="616"/>
                          </a:lnTo>
                          <a:lnTo>
                            <a:pt x="1454" y="625"/>
                          </a:lnTo>
                          <a:lnTo>
                            <a:pt x="1459" y="655"/>
                          </a:lnTo>
                          <a:lnTo>
                            <a:pt x="1531" y="662"/>
                          </a:lnTo>
                          <a:lnTo>
                            <a:pt x="1531" y="616"/>
                          </a:lnTo>
                          <a:lnTo>
                            <a:pt x="1567" y="627"/>
                          </a:lnTo>
                          <a:lnTo>
                            <a:pt x="1595" y="627"/>
                          </a:lnTo>
                          <a:lnTo>
                            <a:pt x="1623" y="659"/>
                          </a:lnTo>
                          <a:lnTo>
                            <a:pt x="1630" y="696"/>
                          </a:lnTo>
                          <a:lnTo>
                            <a:pt x="1621" y="719"/>
                          </a:lnTo>
                          <a:lnTo>
                            <a:pt x="1643" y="762"/>
                          </a:lnTo>
                          <a:lnTo>
                            <a:pt x="1670" y="784"/>
                          </a:lnTo>
                          <a:lnTo>
                            <a:pt x="1686" y="727"/>
                          </a:lnTo>
                          <a:lnTo>
                            <a:pt x="1713" y="751"/>
                          </a:lnTo>
                          <a:lnTo>
                            <a:pt x="1744" y="738"/>
                          </a:lnTo>
                          <a:lnTo>
                            <a:pt x="1776" y="755"/>
                          </a:lnTo>
                          <a:lnTo>
                            <a:pt x="1790" y="739"/>
                          </a:lnTo>
                          <a:lnTo>
                            <a:pt x="1817" y="747"/>
                          </a:lnTo>
                          <a:lnTo>
                            <a:pt x="1805" y="695"/>
                          </a:lnTo>
                          <a:lnTo>
                            <a:pt x="1828" y="670"/>
                          </a:lnTo>
                          <a:lnTo>
                            <a:pt x="1983" y="707"/>
                          </a:lnTo>
                          <a:lnTo>
                            <a:pt x="1997" y="741"/>
                          </a:lnTo>
                          <a:lnTo>
                            <a:pt x="2043" y="781"/>
                          </a:lnTo>
                          <a:lnTo>
                            <a:pt x="2112" y="771"/>
                          </a:lnTo>
                          <a:lnTo>
                            <a:pt x="2146" y="779"/>
                          </a:lnTo>
                          <a:lnTo>
                            <a:pt x="2161" y="801"/>
                          </a:lnTo>
                          <a:lnTo>
                            <a:pt x="2158" y="838"/>
                          </a:lnTo>
                          <a:lnTo>
                            <a:pt x="2179" y="853"/>
                          </a:lnTo>
                          <a:lnTo>
                            <a:pt x="2202" y="842"/>
                          </a:lnTo>
                          <a:lnTo>
                            <a:pt x="2233" y="841"/>
                          </a:lnTo>
                          <a:lnTo>
                            <a:pt x="2265" y="851"/>
                          </a:lnTo>
                          <a:lnTo>
                            <a:pt x="2298" y="845"/>
                          </a:lnTo>
                          <a:lnTo>
                            <a:pt x="2328" y="888"/>
                          </a:lnTo>
                          <a:lnTo>
                            <a:pt x="2350" y="873"/>
                          </a:lnTo>
                          <a:lnTo>
                            <a:pt x="2336" y="842"/>
                          </a:lnTo>
                          <a:lnTo>
                            <a:pt x="2344" y="819"/>
                          </a:lnTo>
                          <a:lnTo>
                            <a:pt x="2399" y="833"/>
                          </a:lnTo>
                          <a:lnTo>
                            <a:pt x="2434" y="830"/>
                          </a:lnTo>
                          <a:lnTo>
                            <a:pt x="2483" y="854"/>
                          </a:lnTo>
                          <a:lnTo>
                            <a:pt x="2508" y="876"/>
                          </a:lnTo>
                          <a:lnTo>
                            <a:pt x="2549" y="911"/>
                          </a:lnTo>
                          <a:lnTo>
                            <a:pt x="2595" y="956"/>
                          </a:lnTo>
                          <a:lnTo>
                            <a:pt x="2594" y="984"/>
                          </a:lnTo>
                          <a:lnTo>
                            <a:pt x="2604" y="994"/>
                          </a:lnTo>
                          <a:lnTo>
                            <a:pt x="2601" y="962"/>
                          </a:lnTo>
                          <a:lnTo>
                            <a:pt x="2647" y="970"/>
                          </a:lnTo>
                          <a:lnTo>
                            <a:pt x="2683" y="1010"/>
                          </a:lnTo>
                          <a:lnTo>
                            <a:pt x="2666" y="1028"/>
                          </a:lnTo>
                          <a:lnTo>
                            <a:pt x="2636" y="1033"/>
                          </a:lnTo>
                          <a:lnTo>
                            <a:pt x="2636" y="1073"/>
                          </a:lnTo>
                          <a:lnTo>
                            <a:pt x="2630" y="1080"/>
                          </a:lnTo>
                          <a:lnTo>
                            <a:pt x="2613" y="1079"/>
                          </a:lnTo>
                          <a:lnTo>
                            <a:pt x="2600" y="1065"/>
                          </a:lnTo>
                          <a:lnTo>
                            <a:pt x="2578" y="1054"/>
                          </a:lnTo>
                          <a:lnTo>
                            <a:pt x="2574" y="1036"/>
                          </a:lnTo>
                          <a:lnTo>
                            <a:pt x="2557" y="1030"/>
                          </a:lnTo>
                          <a:lnTo>
                            <a:pt x="2537" y="1034"/>
                          </a:lnTo>
                          <a:lnTo>
                            <a:pt x="2528" y="1020"/>
                          </a:lnTo>
                          <a:lnTo>
                            <a:pt x="2531" y="1004"/>
                          </a:lnTo>
                          <a:lnTo>
                            <a:pt x="2511" y="1014"/>
                          </a:lnTo>
                          <a:lnTo>
                            <a:pt x="2518" y="1034"/>
                          </a:lnTo>
                          <a:lnTo>
                            <a:pt x="2508" y="1051"/>
                          </a:lnTo>
                          <a:lnTo>
                            <a:pt x="2508" y="1051"/>
                          </a:lnTo>
                          <a:lnTo>
                            <a:pt x="2486" y="1070"/>
                          </a:lnTo>
                          <a:lnTo>
                            <a:pt x="2463" y="1067"/>
                          </a:lnTo>
                          <a:lnTo>
                            <a:pt x="2480" y="1088"/>
                          </a:lnTo>
                          <a:lnTo>
                            <a:pt x="2489" y="1119"/>
                          </a:lnTo>
                          <a:lnTo>
                            <a:pt x="2497" y="1130"/>
                          </a:lnTo>
                          <a:lnTo>
                            <a:pt x="2500" y="1145"/>
                          </a:lnTo>
                          <a:lnTo>
                            <a:pt x="2495" y="1156"/>
                          </a:lnTo>
                          <a:lnTo>
                            <a:pt x="2463" y="1147"/>
                          </a:lnTo>
                          <a:lnTo>
                            <a:pt x="2416" y="1174"/>
                          </a:lnTo>
                          <a:lnTo>
                            <a:pt x="2400" y="1179"/>
                          </a:lnTo>
                          <a:lnTo>
                            <a:pt x="2373" y="1205"/>
                          </a:lnTo>
                          <a:lnTo>
                            <a:pt x="2348" y="1226"/>
                          </a:lnTo>
                          <a:lnTo>
                            <a:pt x="2342" y="1242"/>
                          </a:lnTo>
                          <a:lnTo>
                            <a:pt x="2317" y="1217"/>
                          </a:lnTo>
                          <a:lnTo>
                            <a:pt x="2273" y="1245"/>
                          </a:lnTo>
                          <a:lnTo>
                            <a:pt x="2265" y="1231"/>
                          </a:lnTo>
                          <a:lnTo>
                            <a:pt x="2248" y="1246"/>
                          </a:lnTo>
                          <a:lnTo>
                            <a:pt x="2225" y="1242"/>
                          </a:lnTo>
                          <a:lnTo>
                            <a:pt x="2219" y="1265"/>
                          </a:lnTo>
                          <a:lnTo>
                            <a:pt x="2199" y="1296"/>
                          </a:lnTo>
                          <a:lnTo>
                            <a:pt x="2199" y="1309"/>
                          </a:lnTo>
                          <a:lnTo>
                            <a:pt x="2219" y="1317"/>
                          </a:lnTo>
                          <a:lnTo>
                            <a:pt x="2216" y="1362"/>
                          </a:lnTo>
                          <a:lnTo>
                            <a:pt x="2201" y="1363"/>
                          </a:lnTo>
                          <a:lnTo>
                            <a:pt x="2193" y="1389"/>
                          </a:lnTo>
                          <a:lnTo>
                            <a:pt x="2201" y="1402"/>
                          </a:lnTo>
                          <a:lnTo>
                            <a:pt x="2170" y="1417"/>
                          </a:lnTo>
                          <a:lnTo>
                            <a:pt x="2164" y="1451"/>
                          </a:lnTo>
                          <a:lnTo>
                            <a:pt x="2140" y="1457"/>
                          </a:lnTo>
                          <a:lnTo>
                            <a:pt x="2133" y="1486"/>
                          </a:lnTo>
                          <a:lnTo>
                            <a:pt x="2109" y="1512"/>
                          </a:lnTo>
                          <a:lnTo>
                            <a:pt x="2103" y="1492"/>
                          </a:lnTo>
                          <a:lnTo>
                            <a:pt x="2095" y="1452"/>
                          </a:lnTo>
                          <a:lnTo>
                            <a:pt x="2086" y="1386"/>
                          </a:lnTo>
                          <a:lnTo>
                            <a:pt x="2094" y="1343"/>
                          </a:lnTo>
                          <a:lnTo>
                            <a:pt x="2109" y="1325"/>
                          </a:lnTo>
                          <a:lnTo>
                            <a:pt x="2109" y="1309"/>
                          </a:lnTo>
                          <a:lnTo>
                            <a:pt x="2136" y="1302"/>
                          </a:lnTo>
                          <a:lnTo>
                            <a:pt x="2167" y="1260"/>
                          </a:lnTo>
                          <a:lnTo>
                            <a:pt x="2196" y="1225"/>
                          </a:lnTo>
                          <a:lnTo>
                            <a:pt x="2227" y="1197"/>
                          </a:lnTo>
                          <a:lnTo>
                            <a:pt x="2241" y="1147"/>
                          </a:lnTo>
                          <a:lnTo>
                            <a:pt x="2221" y="1150"/>
                          </a:lnTo>
                          <a:lnTo>
                            <a:pt x="2210" y="1179"/>
                          </a:lnTo>
                          <a:lnTo>
                            <a:pt x="2167" y="1219"/>
                          </a:lnTo>
                          <a:lnTo>
                            <a:pt x="2152" y="1174"/>
                          </a:lnTo>
                          <a:lnTo>
                            <a:pt x="2107" y="1186"/>
                          </a:lnTo>
                          <a:lnTo>
                            <a:pt x="2064" y="1245"/>
                          </a:lnTo>
                          <a:lnTo>
                            <a:pt x="2080" y="1266"/>
                          </a:lnTo>
                          <a:lnTo>
                            <a:pt x="2041" y="1276"/>
                          </a:lnTo>
                          <a:lnTo>
                            <a:pt x="2014" y="1279"/>
                          </a:lnTo>
                          <a:lnTo>
                            <a:pt x="2015" y="1254"/>
                          </a:lnTo>
                          <a:lnTo>
                            <a:pt x="1989" y="1250"/>
                          </a:lnTo>
                          <a:lnTo>
                            <a:pt x="1968" y="1266"/>
                          </a:lnTo>
                          <a:lnTo>
                            <a:pt x="1916" y="1260"/>
                          </a:lnTo>
                          <a:lnTo>
                            <a:pt x="1859" y="1269"/>
                          </a:lnTo>
                          <a:lnTo>
                            <a:pt x="1802" y="1334"/>
                          </a:lnTo>
                          <a:lnTo>
                            <a:pt x="1736" y="1406"/>
                          </a:lnTo>
                          <a:lnTo>
                            <a:pt x="1764" y="1409"/>
                          </a:lnTo>
                          <a:lnTo>
                            <a:pt x="1773" y="1428"/>
                          </a:lnTo>
                          <a:lnTo>
                            <a:pt x="1788" y="1434"/>
                          </a:lnTo>
                          <a:lnTo>
                            <a:pt x="1801" y="1420"/>
                          </a:lnTo>
                          <a:lnTo>
                            <a:pt x="1819" y="1422"/>
                          </a:lnTo>
                          <a:lnTo>
                            <a:pt x="1843" y="1454"/>
                          </a:lnTo>
                          <a:lnTo>
                            <a:pt x="1843" y="1477"/>
                          </a:lnTo>
                          <a:lnTo>
                            <a:pt x="1831" y="1506"/>
                          </a:lnTo>
                          <a:lnTo>
                            <a:pt x="1830" y="1539"/>
                          </a:lnTo>
                          <a:lnTo>
                            <a:pt x="1822" y="1580"/>
                          </a:lnTo>
                          <a:lnTo>
                            <a:pt x="1796" y="1617"/>
                          </a:lnTo>
                          <a:lnTo>
                            <a:pt x="1790" y="1634"/>
                          </a:lnTo>
                          <a:lnTo>
                            <a:pt x="1767" y="1663"/>
                          </a:lnTo>
                          <a:lnTo>
                            <a:pt x="1744" y="1691"/>
                          </a:lnTo>
                          <a:lnTo>
                            <a:pt x="1732" y="1705"/>
                          </a:lnTo>
                          <a:lnTo>
                            <a:pt x="1709" y="1718"/>
                          </a:lnTo>
                          <a:lnTo>
                            <a:pt x="1698" y="1718"/>
                          </a:lnTo>
                          <a:lnTo>
                            <a:pt x="1687" y="1708"/>
                          </a:lnTo>
                          <a:lnTo>
                            <a:pt x="1664" y="1725"/>
                          </a:lnTo>
                          <a:lnTo>
                            <a:pt x="1663" y="1732"/>
                          </a:lnTo>
                          <a:lnTo>
                            <a:pt x="1655" y="1731"/>
                          </a:lnTo>
                          <a:lnTo>
                            <a:pt x="1647" y="1738"/>
                          </a:lnTo>
                          <a:lnTo>
                            <a:pt x="1643" y="1746"/>
                          </a:lnTo>
                          <a:lnTo>
                            <a:pt x="1643" y="1763"/>
                          </a:lnTo>
                          <a:lnTo>
                            <a:pt x="1635" y="1768"/>
                          </a:lnTo>
                          <a:lnTo>
                            <a:pt x="1632" y="1772"/>
                          </a:lnTo>
                          <a:lnTo>
                            <a:pt x="1624" y="1778"/>
                          </a:lnTo>
                          <a:lnTo>
                            <a:pt x="1613" y="1783"/>
                          </a:lnTo>
                          <a:lnTo>
                            <a:pt x="1606" y="1789"/>
                          </a:lnTo>
                          <a:lnTo>
                            <a:pt x="1606" y="1798"/>
                          </a:lnTo>
                          <a:lnTo>
                            <a:pt x="1603" y="1801"/>
                          </a:lnTo>
                          <a:lnTo>
                            <a:pt x="1610" y="1804"/>
                          </a:lnTo>
                          <a:lnTo>
                            <a:pt x="1620" y="1814"/>
                          </a:lnTo>
                          <a:lnTo>
                            <a:pt x="1635" y="1840"/>
                          </a:lnTo>
                          <a:lnTo>
                            <a:pt x="1639" y="1854"/>
                          </a:lnTo>
                          <a:lnTo>
                            <a:pt x="1639" y="1878"/>
                          </a:lnTo>
                          <a:lnTo>
                            <a:pt x="1632" y="1889"/>
                          </a:lnTo>
                          <a:lnTo>
                            <a:pt x="1616" y="1894"/>
                          </a:lnTo>
                          <a:lnTo>
                            <a:pt x="1603" y="1903"/>
                          </a:lnTo>
                          <a:lnTo>
                            <a:pt x="1587" y="1904"/>
                          </a:lnTo>
                          <a:lnTo>
                            <a:pt x="1586" y="1892"/>
                          </a:lnTo>
                          <a:lnTo>
                            <a:pt x="1589" y="1877"/>
                          </a:lnTo>
                          <a:lnTo>
                            <a:pt x="1581" y="1855"/>
                          </a:lnTo>
                          <a:lnTo>
                            <a:pt x="1593" y="1851"/>
                          </a:lnTo>
                          <a:lnTo>
                            <a:pt x="1583" y="1832"/>
                          </a:lnTo>
                          <a:lnTo>
                            <a:pt x="1574" y="1829"/>
                          </a:lnTo>
                          <a:lnTo>
                            <a:pt x="1572" y="1832"/>
                          </a:lnTo>
                          <a:lnTo>
                            <a:pt x="1567" y="1834"/>
                          </a:lnTo>
                          <a:lnTo>
                            <a:pt x="1566" y="1831"/>
                          </a:lnTo>
                          <a:lnTo>
                            <a:pt x="1561" y="1829"/>
                          </a:lnTo>
                          <a:lnTo>
                            <a:pt x="1557" y="1824"/>
                          </a:lnTo>
                          <a:lnTo>
                            <a:pt x="1561" y="1815"/>
                          </a:lnTo>
                          <a:lnTo>
                            <a:pt x="1566" y="1812"/>
                          </a:lnTo>
                          <a:lnTo>
                            <a:pt x="1564" y="1809"/>
                          </a:lnTo>
                          <a:lnTo>
                            <a:pt x="1569" y="1797"/>
                          </a:lnTo>
                          <a:lnTo>
                            <a:pt x="1567" y="1794"/>
                          </a:lnTo>
                          <a:lnTo>
                            <a:pt x="1558" y="1791"/>
                          </a:lnTo>
                          <a:lnTo>
                            <a:pt x="1549" y="1784"/>
                          </a:lnTo>
                          <a:lnTo>
                            <a:pt x="1526" y="1791"/>
                          </a:lnTo>
                          <a:lnTo>
                            <a:pt x="1512" y="1801"/>
                          </a:lnTo>
                          <a:lnTo>
                            <a:pt x="1494" y="1808"/>
                          </a:lnTo>
                          <a:lnTo>
                            <a:pt x="1503" y="1797"/>
                          </a:lnTo>
                          <a:lnTo>
                            <a:pt x="1500" y="1789"/>
                          </a:lnTo>
                          <a:lnTo>
                            <a:pt x="1514" y="1774"/>
                          </a:lnTo>
                          <a:lnTo>
                            <a:pt x="1505" y="1761"/>
                          </a:lnTo>
                          <a:lnTo>
                            <a:pt x="1489" y="1769"/>
                          </a:lnTo>
                          <a:lnTo>
                            <a:pt x="1469" y="1786"/>
                          </a:lnTo>
                          <a:lnTo>
                            <a:pt x="1460" y="1800"/>
                          </a:lnTo>
                          <a:lnTo>
                            <a:pt x="1443" y="1801"/>
                          </a:lnTo>
                          <a:lnTo>
                            <a:pt x="1434" y="1811"/>
                          </a:lnTo>
                          <a:lnTo>
                            <a:pt x="1443" y="1826"/>
                          </a:lnTo>
                          <a:lnTo>
                            <a:pt x="1457" y="1829"/>
                          </a:lnTo>
                          <a:lnTo>
                            <a:pt x="1457" y="1840"/>
                          </a:lnTo>
                          <a:lnTo>
                            <a:pt x="1471" y="1846"/>
                          </a:lnTo>
                          <a:lnTo>
                            <a:pt x="1491" y="1831"/>
                          </a:lnTo>
                          <a:lnTo>
                            <a:pt x="1506" y="1838"/>
                          </a:lnTo>
                          <a:lnTo>
                            <a:pt x="1517" y="1838"/>
                          </a:lnTo>
                          <a:lnTo>
                            <a:pt x="1520" y="1851"/>
                          </a:lnTo>
                          <a:lnTo>
                            <a:pt x="1495" y="1857"/>
                          </a:lnTo>
                          <a:lnTo>
                            <a:pt x="1488" y="1867"/>
                          </a:lnTo>
                          <a:lnTo>
                            <a:pt x="1471" y="1878"/>
                          </a:lnTo>
                          <a:lnTo>
                            <a:pt x="1462" y="1894"/>
                          </a:lnTo>
                          <a:lnTo>
                            <a:pt x="1480" y="1904"/>
                          </a:lnTo>
                          <a:lnTo>
                            <a:pt x="1486" y="1924"/>
                          </a:lnTo>
                          <a:lnTo>
                            <a:pt x="1497" y="1944"/>
                          </a:lnTo>
                          <a:lnTo>
                            <a:pt x="1509" y="1960"/>
                          </a:lnTo>
                          <a:lnTo>
                            <a:pt x="1509" y="1974"/>
                          </a:lnTo>
                          <a:lnTo>
                            <a:pt x="1498" y="1980"/>
                          </a:lnTo>
                          <a:lnTo>
                            <a:pt x="1501" y="1990"/>
                          </a:lnTo>
                          <a:lnTo>
                            <a:pt x="1512" y="1997"/>
                          </a:lnTo>
                          <a:lnTo>
                            <a:pt x="1509" y="2012"/>
                          </a:lnTo>
                          <a:lnTo>
                            <a:pt x="1505" y="2027"/>
                          </a:lnTo>
                          <a:lnTo>
                            <a:pt x="1495" y="2029"/>
                          </a:lnTo>
                          <a:lnTo>
                            <a:pt x="1483" y="2050"/>
                          </a:lnTo>
                          <a:lnTo>
                            <a:pt x="1469" y="2075"/>
                          </a:lnTo>
                          <a:lnTo>
                            <a:pt x="1452" y="2098"/>
                          </a:lnTo>
                          <a:lnTo>
                            <a:pt x="1429" y="2115"/>
                          </a:lnTo>
                          <a:lnTo>
                            <a:pt x="1405" y="2132"/>
                          </a:lnTo>
                          <a:lnTo>
                            <a:pt x="1386" y="2133"/>
                          </a:lnTo>
                          <a:lnTo>
                            <a:pt x="1376" y="2141"/>
                          </a:lnTo>
                          <a:lnTo>
                            <a:pt x="1370" y="2137"/>
                          </a:lnTo>
                          <a:lnTo>
                            <a:pt x="1360" y="2146"/>
                          </a:lnTo>
                          <a:lnTo>
                            <a:pt x="1336" y="2155"/>
                          </a:lnTo>
                          <a:lnTo>
                            <a:pt x="1317" y="2156"/>
                          </a:lnTo>
                          <a:lnTo>
                            <a:pt x="1311" y="2176"/>
                          </a:lnTo>
                          <a:lnTo>
                            <a:pt x="1302" y="2178"/>
                          </a:lnTo>
                          <a:lnTo>
                            <a:pt x="1297" y="2164"/>
                          </a:lnTo>
                          <a:lnTo>
                            <a:pt x="1302" y="2156"/>
                          </a:lnTo>
                          <a:lnTo>
                            <a:pt x="1279" y="2152"/>
                          </a:lnTo>
                          <a:lnTo>
                            <a:pt x="1270" y="2153"/>
                          </a:lnTo>
                          <a:lnTo>
                            <a:pt x="1247" y="2170"/>
                          </a:lnTo>
                          <a:lnTo>
                            <a:pt x="1233" y="2187"/>
                          </a:lnTo>
                          <a:lnTo>
                            <a:pt x="1230" y="2200"/>
                          </a:lnTo>
                          <a:lnTo>
                            <a:pt x="1242" y="2220"/>
                          </a:lnTo>
                          <a:lnTo>
                            <a:pt x="1259" y="2243"/>
                          </a:lnTo>
                          <a:lnTo>
                            <a:pt x="1274" y="2253"/>
                          </a:lnTo>
                          <a:lnTo>
                            <a:pt x="1285" y="2267"/>
                          </a:lnTo>
                          <a:lnTo>
                            <a:pt x="1293" y="2301"/>
                          </a:lnTo>
                          <a:lnTo>
                            <a:pt x="1290" y="2332"/>
                          </a:lnTo>
                          <a:lnTo>
                            <a:pt x="1276" y="2342"/>
                          </a:lnTo>
                          <a:lnTo>
                            <a:pt x="1256" y="2353"/>
                          </a:lnTo>
                          <a:lnTo>
                            <a:pt x="1242" y="2369"/>
                          </a:lnTo>
                          <a:lnTo>
                            <a:pt x="1221" y="2384"/>
                          </a:lnTo>
                          <a:lnTo>
                            <a:pt x="1215" y="2373"/>
                          </a:lnTo>
                          <a:lnTo>
                            <a:pt x="1219" y="2361"/>
                          </a:lnTo>
                          <a:lnTo>
                            <a:pt x="1207" y="2352"/>
                          </a:lnTo>
                          <a:lnTo>
                            <a:pt x="1192" y="2349"/>
                          </a:lnTo>
                          <a:lnTo>
                            <a:pt x="1185" y="2339"/>
                          </a:lnTo>
                          <a:lnTo>
                            <a:pt x="1176" y="2323"/>
                          </a:lnTo>
                          <a:lnTo>
                            <a:pt x="1161" y="2313"/>
                          </a:lnTo>
                          <a:lnTo>
                            <a:pt x="1146" y="2315"/>
                          </a:lnTo>
                          <a:lnTo>
                            <a:pt x="1149" y="2301"/>
                          </a:lnTo>
                          <a:lnTo>
                            <a:pt x="1133" y="2301"/>
                          </a:lnTo>
                          <a:lnTo>
                            <a:pt x="1132" y="2319"/>
                          </a:lnTo>
                          <a:lnTo>
                            <a:pt x="1123" y="2346"/>
                          </a:lnTo>
                          <a:lnTo>
                            <a:pt x="1116" y="2361"/>
                          </a:lnTo>
                          <a:lnTo>
                            <a:pt x="1118" y="2373"/>
                          </a:lnTo>
                          <a:lnTo>
                            <a:pt x="1130" y="2373"/>
                          </a:lnTo>
                          <a:lnTo>
                            <a:pt x="1136" y="2390"/>
                          </a:lnTo>
                          <a:lnTo>
                            <a:pt x="1139" y="2404"/>
                          </a:lnTo>
                          <a:lnTo>
                            <a:pt x="1149" y="2415"/>
                          </a:lnTo>
                          <a:lnTo>
                            <a:pt x="1159" y="2416"/>
                          </a:lnTo>
                          <a:lnTo>
                            <a:pt x="1169" y="2426"/>
                          </a:lnTo>
                          <a:lnTo>
                            <a:pt x="1172" y="2427"/>
                          </a:lnTo>
                          <a:lnTo>
                            <a:pt x="1182" y="2438"/>
                          </a:lnTo>
                          <a:lnTo>
                            <a:pt x="1190" y="2449"/>
                          </a:lnTo>
                          <a:lnTo>
                            <a:pt x="1190" y="2461"/>
                          </a:lnTo>
                          <a:lnTo>
                            <a:pt x="1189" y="2469"/>
                          </a:lnTo>
                          <a:lnTo>
                            <a:pt x="1190" y="2475"/>
                          </a:lnTo>
                          <a:lnTo>
                            <a:pt x="1192" y="2484"/>
                          </a:lnTo>
                          <a:lnTo>
                            <a:pt x="1198" y="2489"/>
                          </a:lnTo>
                          <a:lnTo>
                            <a:pt x="1205" y="2504"/>
                          </a:lnTo>
                          <a:lnTo>
                            <a:pt x="1204" y="2510"/>
                          </a:lnTo>
                          <a:lnTo>
                            <a:pt x="1192" y="2512"/>
                          </a:lnTo>
                          <a:lnTo>
                            <a:pt x="1176" y="2499"/>
                          </a:lnTo>
                          <a:lnTo>
                            <a:pt x="1156" y="2485"/>
                          </a:lnTo>
                          <a:lnTo>
                            <a:pt x="1153" y="2476"/>
                          </a:lnTo>
                          <a:lnTo>
                            <a:pt x="1144" y="2465"/>
                          </a:lnTo>
                          <a:lnTo>
                            <a:pt x="1141" y="2450"/>
                          </a:lnTo>
                          <a:lnTo>
                            <a:pt x="1135" y="2441"/>
                          </a:lnTo>
                          <a:lnTo>
                            <a:pt x="1136" y="2429"/>
                          </a:lnTo>
                          <a:lnTo>
                            <a:pt x="1133" y="2421"/>
                          </a:lnTo>
                          <a:lnTo>
                            <a:pt x="1126" y="2415"/>
                          </a:lnTo>
                          <a:lnTo>
                            <a:pt x="1124" y="2406"/>
                          </a:lnTo>
                          <a:lnTo>
                            <a:pt x="1115" y="2396"/>
                          </a:lnTo>
                          <a:lnTo>
                            <a:pt x="1106" y="2389"/>
                          </a:lnTo>
                          <a:lnTo>
                            <a:pt x="1103" y="2398"/>
                          </a:lnTo>
                          <a:lnTo>
                            <a:pt x="1100" y="2389"/>
                          </a:lnTo>
                          <a:lnTo>
                            <a:pt x="1101" y="2378"/>
                          </a:lnTo>
                          <a:lnTo>
                            <a:pt x="1107" y="2361"/>
                          </a:lnTo>
                          <a:lnTo>
                            <a:pt x="1106" y="2349"/>
                          </a:lnTo>
                          <a:lnTo>
                            <a:pt x="1110" y="2335"/>
                          </a:lnTo>
                          <a:lnTo>
                            <a:pt x="1104" y="2324"/>
                          </a:lnTo>
                          <a:lnTo>
                            <a:pt x="1106" y="2306"/>
                          </a:lnTo>
                          <a:lnTo>
                            <a:pt x="1100" y="2296"/>
                          </a:lnTo>
                          <a:lnTo>
                            <a:pt x="1093" y="2275"/>
                          </a:lnTo>
                          <a:lnTo>
                            <a:pt x="1090" y="2253"/>
                          </a:lnTo>
                          <a:lnTo>
                            <a:pt x="1083" y="2238"/>
                          </a:lnTo>
                          <a:lnTo>
                            <a:pt x="1072" y="2247"/>
                          </a:lnTo>
                          <a:lnTo>
                            <a:pt x="1052" y="2259"/>
                          </a:lnTo>
                          <a:lnTo>
                            <a:pt x="1043" y="2258"/>
                          </a:lnTo>
                          <a:lnTo>
                            <a:pt x="1032" y="2253"/>
                          </a:lnTo>
                          <a:lnTo>
                            <a:pt x="1038" y="2232"/>
                          </a:lnTo>
                          <a:lnTo>
                            <a:pt x="1034" y="2215"/>
                          </a:lnTo>
                          <a:lnTo>
                            <a:pt x="1021" y="2195"/>
                          </a:lnTo>
                          <a:lnTo>
                            <a:pt x="1023" y="2187"/>
                          </a:lnTo>
                          <a:lnTo>
                            <a:pt x="1012" y="2186"/>
                          </a:lnTo>
                          <a:lnTo>
                            <a:pt x="1000" y="2170"/>
                          </a:lnTo>
                          <a:lnTo>
                            <a:pt x="995" y="2161"/>
                          </a:lnTo>
                          <a:lnTo>
                            <a:pt x="995" y="2152"/>
                          </a:lnTo>
                          <a:lnTo>
                            <a:pt x="991" y="2143"/>
                          </a:lnTo>
                          <a:lnTo>
                            <a:pt x="985" y="2132"/>
                          </a:lnTo>
                          <a:lnTo>
                            <a:pt x="968" y="2130"/>
                          </a:lnTo>
                          <a:lnTo>
                            <a:pt x="969" y="2138"/>
                          </a:lnTo>
                          <a:lnTo>
                            <a:pt x="965" y="2149"/>
                          </a:lnTo>
                          <a:lnTo>
                            <a:pt x="957" y="2146"/>
                          </a:lnTo>
                          <a:lnTo>
                            <a:pt x="954" y="2149"/>
                          </a:lnTo>
                          <a:lnTo>
                            <a:pt x="949" y="2146"/>
                          </a:lnTo>
                          <a:lnTo>
                            <a:pt x="943" y="2144"/>
                          </a:lnTo>
                          <a:lnTo>
                            <a:pt x="940" y="2152"/>
                          </a:lnTo>
                          <a:lnTo>
                            <a:pt x="929" y="2152"/>
                          </a:lnTo>
                          <a:lnTo>
                            <a:pt x="908" y="2155"/>
                          </a:lnTo>
                          <a:lnTo>
                            <a:pt x="909" y="2169"/>
                          </a:lnTo>
                          <a:lnTo>
                            <a:pt x="900" y="2180"/>
                          </a:lnTo>
                          <a:lnTo>
                            <a:pt x="874" y="2192"/>
                          </a:lnTo>
                          <a:lnTo>
                            <a:pt x="856" y="2213"/>
                          </a:lnTo>
                          <a:lnTo>
                            <a:pt x="842" y="2224"/>
                          </a:lnTo>
                          <a:lnTo>
                            <a:pt x="825" y="2236"/>
                          </a:lnTo>
                          <a:lnTo>
                            <a:pt x="825" y="2244"/>
                          </a:lnTo>
                          <a:lnTo>
                            <a:pt x="817" y="2249"/>
                          </a:lnTo>
                          <a:lnTo>
                            <a:pt x="802" y="2255"/>
                          </a:lnTo>
                          <a:lnTo>
                            <a:pt x="793" y="2256"/>
                          </a:lnTo>
                          <a:lnTo>
                            <a:pt x="788" y="2270"/>
                          </a:lnTo>
                          <a:lnTo>
                            <a:pt x="791" y="2293"/>
                          </a:lnTo>
                          <a:lnTo>
                            <a:pt x="793" y="2307"/>
                          </a:lnTo>
                          <a:lnTo>
                            <a:pt x="785" y="2324"/>
                          </a:lnTo>
                          <a:lnTo>
                            <a:pt x="785" y="2355"/>
                          </a:lnTo>
                          <a:lnTo>
                            <a:pt x="776" y="2355"/>
                          </a:lnTo>
                          <a:lnTo>
                            <a:pt x="768" y="2369"/>
                          </a:lnTo>
                          <a:lnTo>
                            <a:pt x="774" y="2373"/>
                          </a:lnTo>
                          <a:lnTo>
                            <a:pt x="758" y="2379"/>
                          </a:lnTo>
                          <a:lnTo>
                            <a:pt x="753" y="2390"/>
                          </a:lnTo>
                          <a:lnTo>
                            <a:pt x="745" y="2396"/>
                          </a:lnTo>
                          <a:lnTo>
                            <a:pt x="728" y="2379"/>
                          </a:lnTo>
                          <a:lnTo>
                            <a:pt x="721" y="2355"/>
                          </a:lnTo>
                          <a:lnTo>
                            <a:pt x="715" y="2338"/>
                          </a:lnTo>
                          <a:lnTo>
                            <a:pt x="708" y="2329"/>
                          </a:lnTo>
                          <a:lnTo>
                            <a:pt x="699" y="2312"/>
                          </a:lnTo>
                          <a:lnTo>
                            <a:pt x="695" y="2290"/>
                          </a:lnTo>
                          <a:lnTo>
                            <a:pt x="692" y="2279"/>
                          </a:lnTo>
                          <a:lnTo>
                            <a:pt x="676" y="2255"/>
                          </a:lnTo>
                          <a:lnTo>
                            <a:pt x="669" y="2220"/>
                          </a:lnTo>
                          <a:lnTo>
                            <a:pt x="664" y="2196"/>
                          </a:lnTo>
                          <a:lnTo>
                            <a:pt x="664" y="2175"/>
                          </a:lnTo>
                          <a:lnTo>
                            <a:pt x="661" y="2158"/>
                          </a:lnTo>
                          <a:lnTo>
                            <a:pt x="636" y="2169"/>
                          </a:lnTo>
                          <a:lnTo>
                            <a:pt x="624" y="2167"/>
                          </a:lnTo>
                          <a:lnTo>
                            <a:pt x="601" y="2144"/>
                          </a:lnTo>
                          <a:lnTo>
                            <a:pt x="609" y="2138"/>
                          </a:lnTo>
                          <a:lnTo>
                            <a:pt x="604" y="2130"/>
                          </a:lnTo>
                          <a:lnTo>
                            <a:pt x="584" y="2115"/>
                          </a:lnTo>
                          <a:lnTo>
                            <a:pt x="572" y="2110"/>
                          </a:lnTo>
                          <a:lnTo>
                            <a:pt x="566" y="2097"/>
                          </a:lnTo>
                          <a:lnTo>
                            <a:pt x="554" y="2081"/>
                          </a:lnTo>
                          <a:lnTo>
                            <a:pt x="521" y="2086"/>
                          </a:lnTo>
                          <a:lnTo>
                            <a:pt x="494" y="2086"/>
                          </a:lnTo>
                          <a:lnTo>
                            <a:pt x="469" y="2089"/>
                          </a:lnTo>
                          <a:lnTo>
                            <a:pt x="469" y="2089"/>
                          </a:lnTo>
                          <a:close/>
                          <a:moveTo>
                            <a:pt x="1899" y="1691"/>
                          </a:moveTo>
                          <a:lnTo>
                            <a:pt x="1886" y="1686"/>
                          </a:lnTo>
                          <a:lnTo>
                            <a:pt x="1873" y="1678"/>
                          </a:lnTo>
                          <a:lnTo>
                            <a:pt x="1853" y="1652"/>
                          </a:lnTo>
                          <a:lnTo>
                            <a:pt x="1848" y="1672"/>
                          </a:lnTo>
                          <a:lnTo>
                            <a:pt x="1843" y="1705"/>
                          </a:lnTo>
                          <a:lnTo>
                            <a:pt x="1825" y="1706"/>
                          </a:lnTo>
                          <a:lnTo>
                            <a:pt x="1816" y="1725"/>
                          </a:lnTo>
                          <a:lnTo>
                            <a:pt x="1819" y="1748"/>
                          </a:lnTo>
                          <a:lnTo>
                            <a:pt x="1837" y="1748"/>
                          </a:lnTo>
                          <a:lnTo>
                            <a:pt x="1847" y="1721"/>
                          </a:lnTo>
                          <a:lnTo>
                            <a:pt x="1874" y="1737"/>
                          </a:lnTo>
                          <a:lnTo>
                            <a:pt x="1890" y="1714"/>
                          </a:lnTo>
                          <a:lnTo>
                            <a:pt x="1914" y="1708"/>
                          </a:lnTo>
                          <a:lnTo>
                            <a:pt x="1911" y="1681"/>
                          </a:lnTo>
                          <a:lnTo>
                            <a:pt x="1899" y="1691"/>
                          </a:lnTo>
                          <a:close/>
                          <a:moveTo>
                            <a:pt x="1836" y="2578"/>
                          </a:moveTo>
                          <a:lnTo>
                            <a:pt x="1817" y="2573"/>
                          </a:lnTo>
                          <a:lnTo>
                            <a:pt x="1805" y="2567"/>
                          </a:lnTo>
                          <a:lnTo>
                            <a:pt x="1790" y="2562"/>
                          </a:lnTo>
                          <a:lnTo>
                            <a:pt x="1774" y="2562"/>
                          </a:lnTo>
                          <a:lnTo>
                            <a:pt x="1756" y="2572"/>
                          </a:lnTo>
                          <a:lnTo>
                            <a:pt x="1741" y="2590"/>
                          </a:lnTo>
                          <a:lnTo>
                            <a:pt x="1724" y="2579"/>
                          </a:lnTo>
                          <a:lnTo>
                            <a:pt x="1719" y="2552"/>
                          </a:lnTo>
                          <a:lnTo>
                            <a:pt x="1716" y="2545"/>
                          </a:lnTo>
                          <a:lnTo>
                            <a:pt x="1689" y="2539"/>
                          </a:lnTo>
                          <a:lnTo>
                            <a:pt x="1679" y="2544"/>
                          </a:lnTo>
                          <a:lnTo>
                            <a:pt x="1656" y="2548"/>
                          </a:lnTo>
                          <a:lnTo>
                            <a:pt x="1664" y="2556"/>
                          </a:lnTo>
                          <a:lnTo>
                            <a:pt x="1679" y="2561"/>
                          </a:lnTo>
                          <a:lnTo>
                            <a:pt x="1686" y="2570"/>
                          </a:lnTo>
                          <a:lnTo>
                            <a:pt x="1710" y="2570"/>
                          </a:lnTo>
                          <a:lnTo>
                            <a:pt x="1712" y="2575"/>
                          </a:lnTo>
                          <a:lnTo>
                            <a:pt x="1699" y="2575"/>
                          </a:lnTo>
                          <a:lnTo>
                            <a:pt x="1681" y="2581"/>
                          </a:lnTo>
                          <a:lnTo>
                            <a:pt x="1695" y="2588"/>
                          </a:lnTo>
                          <a:lnTo>
                            <a:pt x="1695" y="2596"/>
                          </a:lnTo>
                          <a:lnTo>
                            <a:pt x="1699" y="2602"/>
                          </a:lnTo>
                          <a:lnTo>
                            <a:pt x="1705" y="2601"/>
                          </a:lnTo>
                          <a:lnTo>
                            <a:pt x="1710" y="2593"/>
                          </a:lnTo>
                          <a:lnTo>
                            <a:pt x="1736" y="2608"/>
                          </a:lnTo>
                          <a:lnTo>
                            <a:pt x="1750" y="2610"/>
                          </a:lnTo>
                          <a:lnTo>
                            <a:pt x="1784" y="2625"/>
                          </a:lnTo>
                          <a:lnTo>
                            <a:pt x="1791" y="2639"/>
                          </a:lnTo>
                          <a:lnTo>
                            <a:pt x="1796" y="2658"/>
                          </a:lnTo>
                          <a:lnTo>
                            <a:pt x="1785" y="2662"/>
                          </a:lnTo>
                          <a:lnTo>
                            <a:pt x="1778" y="2678"/>
                          </a:lnTo>
                          <a:lnTo>
                            <a:pt x="1801" y="2676"/>
                          </a:lnTo>
                          <a:lnTo>
                            <a:pt x="1804" y="2671"/>
                          </a:lnTo>
                          <a:lnTo>
                            <a:pt x="1822" y="2675"/>
                          </a:lnTo>
                          <a:lnTo>
                            <a:pt x="1837" y="2688"/>
                          </a:lnTo>
                          <a:lnTo>
                            <a:pt x="1837" y="2633"/>
                          </a:lnTo>
                          <a:lnTo>
                            <a:pt x="1836" y="2578"/>
                          </a:lnTo>
                          <a:close/>
                          <a:moveTo>
                            <a:pt x="1474" y="2266"/>
                          </a:moveTo>
                          <a:lnTo>
                            <a:pt x="1477" y="2273"/>
                          </a:lnTo>
                          <a:lnTo>
                            <a:pt x="1485" y="2283"/>
                          </a:lnTo>
                          <a:lnTo>
                            <a:pt x="1488" y="2276"/>
                          </a:lnTo>
                          <a:lnTo>
                            <a:pt x="1492" y="2281"/>
                          </a:lnTo>
                          <a:lnTo>
                            <a:pt x="1486" y="2286"/>
                          </a:lnTo>
                          <a:lnTo>
                            <a:pt x="1486" y="2293"/>
                          </a:lnTo>
                          <a:lnTo>
                            <a:pt x="1494" y="2296"/>
                          </a:lnTo>
                          <a:lnTo>
                            <a:pt x="1511" y="2293"/>
                          </a:lnTo>
                          <a:lnTo>
                            <a:pt x="1521" y="2304"/>
                          </a:lnTo>
                          <a:lnTo>
                            <a:pt x="1526" y="2298"/>
                          </a:lnTo>
                          <a:lnTo>
                            <a:pt x="1532" y="2307"/>
                          </a:lnTo>
                          <a:lnTo>
                            <a:pt x="1546" y="2316"/>
                          </a:lnTo>
                          <a:lnTo>
                            <a:pt x="1547" y="2307"/>
                          </a:lnTo>
                          <a:lnTo>
                            <a:pt x="1541" y="2304"/>
                          </a:lnTo>
                          <a:lnTo>
                            <a:pt x="1543" y="2293"/>
                          </a:lnTo>
                          <a:lnTo>
                            <a:pt x="1521" y="2284"/>
                          </a:lnTo>
                          <a:lnTo>
                            <a:pt x="1514" y="2286"/>
                          </a:lnTo>
                          <a:lnTo>
                            <a:pt x="1505" y="2284"/>
                          </a:lnTo>
                          <a:lnTo>
                            <a:pt x="1501" y="2270"/>
                          </a:lnTo>
                          <a:lnTo>
                            <a:pt x="1503" y="2256"/>
                          </a:lnTo>
                          <a:lnTo>
                            <a:pt x="1514" y="2250"/>
                          </a:lnTo>
                          <a:lnTo>
                            <a:pt x="1518" y="2235"/>
                          </a:lnTo>
                          <a:lnTo>
                            <a:pt x="1512" y="2223"/>
                          </a:lnTo>
                          <a:lnTo>
                            <a:pt x="1515" y="2215"/>
                          </a:lnTo>
                          <a:lnTo>
                            <a:pt x="1514" y="2210"/>
                          </a:lnTo>
                          <a:lnTo>
                            <a:pt x="1509" y="2215"/>
                          </a:lnTo>
                          <a:lnTo>
                            <a:pt x="1498" y="2210"/>
                          </a:lnTo>
                          <a:lnTo>
                            <a:pt x="1488" y="2210"/>
                          </a:lnTo>
                          <a:lnTo>
                            <a:pt x="1482" y="2226"/>
                          </a:lnTo>
                          <a:lnTo>
                            <a:pt x="1480" y="2253"/>
                          </a:lnTo>
                          <a:lnTo>
                            <a:pt x="1474" y="2249"/>
                          </a:lnTo>
                          <a:lnTo>
                            <a:pt x="1474" y="2266"/>
                          </a:lnTo>
                          <a:close/>
                          <a:moveTo>
                            <a:pt x="1704" y="1927"/>
                          </a:moveTo>
                          <a:lnTo>
                            <a:pt x="1713" y="1921"/>
                          </a:lnTo>
                          <a:lnTo>
                            <a:pt x="1719" y="1929"/>
                          </a:lnTo>
                          <a:lnTo>
                            <a:pt x="1728" y="1917"/>
                          </a:lnTo>
                          <a:lnTo>
                            <a:pt x="1727" y="1909"/>
                          </a:lnTo>
                          <a:lnTo>
                            <a:pt x="1715" y="1904"/>
                          </a:lnTo>
                          <a:lnTo>
                            <a:pt x="1707" y="1914"/>
                          </a:lnTo>
                          <a:lnTo>
                            <a:pt x="1698" y="1911"/>
                          </a:lnTo>
                          <a:lnTo>
                            <a:pt x="1689" y="1923"/>
                          </a:lnTo>
                          <a:lnTo>
                            <a:pt x="1689" y="1934"/>
                          </a:lnTo>
                          <a:lnTo>
                            <a:pt x="1699" y="1938"/>
                          </a:lnTo>
                          <a:lnTo>
                            <a:pt x="1704" y="1927"/>
                          </a:lnTo>
                          <a:close/>
                          <a:moveTo>
                            <a:pt x="1721" y="2631"/>
                          </a:moveTo>
                          <a:lnTo>
                            <a:pt x="1718" y="2638"/>
                          </a:lnTo>
                          <a:lnTo>
                            <a:pt x="1719" y="2651"/>
                          </a:lnTo>
                          <a:lnTo>
                            <a:pt x="1728" y="2639"/>
                          </a:lnTo>
                          <a:lnTo>
                            <a:pt x="1728" y="2631"/>
                          </a:lnTo>
                          <a:lnTo>
                            <a:pt x="1724" y="2625"/>
                          </a:lnTo>
                          <a:lnTo>
                            <a:pt x="1721" y="2631"/>
                          </a:lnTo>
                          <a:close/>
                          <a:moveTo>
                            <a:pt x="1218" y="287"/>
                          </a:moveTo>
                          <a:lnTo>
                            <a:pt x="1224" y="252"/>
                          </a:lnTo>
                          <a:lnTo>
                            <a:pt x="1179" y="201"/>
                          </a:lnTo>
                          <a:lnTo>
                            <a:pt x="1167" y="195"/>
                          </a:lnTo>
                          <a:lnTo>
                            <a:pt x="1153" y="206"/>
                          </a:lnTo>
                          <a:lnTo>
                            <a:pt x="1121" y="319"/>
                          </a:lnTo>
                          <a:lnTo>
                            <a:pt x="1218" y="287"/>
                          </a:lnTo>
                          <a:close/>
                          <a:moveTo>
                            <a:pt x="1017" y="187"/>
                          </a:moveTo>
                          <a:lnTo>
                            <a:pt x="1044" y="223"/>
                          </a:lnTo>
                          <a:lnTo>
                            <a:pt x="1092" y="249"/>
                          </a:lnTo>
                          <a:lnTo>
                            <a:pt x="1130" y="238"/>
                          </a:lnTo>
                          <a:lnTo>
                            <a:pt x="1135" y="153"/>
                          </a:lnTo>
                          <a:lnTo>
                            <a:pt x="1095" y="55"/>
                          </a:lnTo>
                          <a:lnTo>
                            <a:pt x="1061" y="0"/>
                          </a:lnTo>
                          <a:lnTo>
                            <a:pt x="1024" y="26"/>
                          </a:lnTo>
                          <a:lnTo>
                            <a:pt x="980" y="98"/>
                          </a:lnTo>
                          <a:lnTo>
                            <a:pt x="1003" y="118"/>
                          </a:lnTo>
                          <a:lnTo>
                            <a:pt x="1017" y="187"/>
                          </a:lnTo>
                          <a:close/>
                          <a:moveTo>
                            <a:pt x="802" y="2373"/>
                          </a:moveTo>
                          <a:lnTo>
                            <a:pt x="790" y="2364"/>
                          </a:lnTo>
                          <a:lnTo>
                            <a:pt x="782" y="2392"/>
                          </a:lnTo>
                          <a:lnTo>
                            <a:pt x="785" y="2416"/>
                          </a:lnTo>
                          <a:lnTo>
                            <a:pt x="793" y="2430"/>
                          </a:lnTo>
                          <a:lnTo>
                            <a:pt x="808" y="2426"/>
                          </a:lnTo>
                          <a:lnTo>
                            <a:pt x="816" y="2421"/>
                          </a:lnTo>
                          <a:lnTo>
                            <a:pt x="817" y="2404"/>
                          </a:lnTo>
                          <a:lnTo>
                            <a:pt x="810" y="2386"/>
                          </a:lnTo>
                          <a:lnTo>
                            <a:pt x="802" y="2373"/>
                          </a:lnTo>
                          <a:close/>
                          <a:moveTo>
                            <a:pt x="1833" y="615"/>
                          </a:moveTo>
                          <a:lnTo>
                            <a:pt x="1817" y="639"/>
                          </a:lnTo>
                          <a:lnTo>
                            <a:pt x="1820" y="642"/>
                          </a:lnTo>
                          <a:lnTo>
                            <a:pt x="1856" y="648"/>
                          </a:lnTo>
                          <a:lnTo>
                            <a:pt x="1882" y="648"/>
                          </a:lnTo>
                          <a:lnTo>
                            <a:pt x="1879" y="633"/>
                          </a:lnTo>
                          <a:lnTo>
                            <a:pt x="1854" y="610"/>
                          </a:lnTo>
                          <a:lnTo>
                            <a:pt x="1833" y="615"/>
                          </a:lnTo>
                          <a:close/>
                          <a:moveTo>
                            <a:pt x="1830" y="545"/>
                          </a:moveTo>
                          <a:lnTo>
                            <a:pt x="1893" y="549"/>
                          </a:lnTo>
                          <a:lnTo>
                            <a:pt x="1906" y="498"/>
                          </a:lnTo>
                          <a:lnTo>
                            <a:pt x="1845" y="461"/>
                          </a:lnTo>
                          <a:lnTo>
                            <a:pt x="1799" y="458"/>
                          </a:lnTo>
                          <a:lnTo>
                            <a:pt x="1776" y="470"/>
                          </a:lnTo>
                          <a:lnTo>
                            <a:pt x="1767" y="518"/>
                          </a:lnTo>
                          <a:lnTo>
                            <a:pt x="1801" y="561"/>
                          </a:lnTo>
                          <a:lnTo>
                            <a:pt x="1830" y="545"/>
                          </a:lnTo>
                          <a:close/>
                          <a:moveTo>
                            <a:pt x="2508" y="782"/>
                          </a:moveTo>
                          <a:lnTo>
                            <a:pt x="2529" y="779"/>
                          </a:lnTo>
                          <a:lnTo>
                            <a:pt x="2548" y="765"/>
                          </a:lnTo>
                          <a:lnTo>
                            <a:pt x="2549" y="759"/>
                          </a:lnTo>
                          <a:lnTo>
                            <a:pt x="2525" y="742"/>
                          </a:lnTo>
                          <a:lnTo>
                            <a:pt x="2509" y="742"/>
                          </a:lnTo>
                          <a:lnTo>
                            <a:pt x="2508" y="745"/>
                          </a:lnTo>
                          <a:lnTo>
                            <a:pt x="2485" y="767"/>
                          </a:lnTo>
                          <a:lnTo>
                            <a:pt x="2488" y="784"/>
                          </a:lnTo>
                          <a:lnTo>
                            <a:pt x="2508" y="782"/>
                          </a:lnTo>
                          <a:close/>
                          <a:moveTo>
                            <a:pt x="1985" y="556"/>
                          </a:moveTo>
                          <a:lnTo>
                            <a:pt x="2005" y="530"/>
                          </a:lnTo>
                          <a:lnTo>
                            <a:pt x="1960" y="513"/>
                          </a:lnTo>
                          <a:lnTo>
                            <a:pt x="1928" y="502"/>
                          </a:lnTo>
                          <a:lnTo>
                            <a:pt x="1925" y="524"/>
                          </a:lnTo>
                          <a:lnTo>
                            <a:pt x="1957" y="550"/>
                          </a:lnTo>
                          <a:lnTo>
                            <a:pt x="1985" y="556"/>
                          </a:lnTo>
                          <a:close/>
                          <a:moveTo>
                            <a:pt x="1231" y="2607"/>
                          </a:moveTo>
                          <a:lnTo>
                            <a:pt x="1236" y="2585"/>
                          </a:lnTo>
                          <a:lnTo>
                            <a:pt x="1228" y="2575"/>
                          </a:lnTo>
                          <a:lnTo>
                            <a:pt x="1215" y="2573"/>
                          </a:lnTo>
                          <a:lnTo>
                            <a:pt x="1208" y="2562"/>
                          </a:lnTo>
                          <a:lnTo>
                            <a:pt x="1207" y="2552"/>
                          </a:lnTo>
                          <a:lnTo>
                            <a:pt x="1199" y="2550"/>
                          </a:lnTo>
                          <a:lnTo>
                            <a:pt x="1190" y="2544"/>
                          </a:lnTo>
                          <a:lnTo>
                            <a:pt x="1198" y="2530"/>
                          </a:lnTo>
                          <a:lnTo>
                            <a:pt x="1184" y="2522"/>
                          </a:lnTo>
                          <a:lnTo>
                            <a:pt x="1175" y="2509"/>
                          </a:lnTo>
                          <a:lnTo>
                            <a:pt x="1159" y="2496"/>
                          </a:lnTo>
                          <a:lnTo>
                            <a:pt x="1143" y="2496"/>
                          </a:lnTo>
                          <a:lnTo>
                            <a:pt x="1126" y="2478"/>
                          </a:lnTo>
                          <a:lnTo>
                            <a:pt x="1116" y="2472"/>
                          </a:lnTo>
                          <a:lnTo>
                            <a:pt x="1103" y="2459"/>
                          </a:lnTo>
                          <a:lnTo>
                            <a:pt x="1087" y="2442"/>
                          </a:lnTo>
                          <a:lnTo>
                            <a:pt x="1061" y="2439"/>
                          </a:lnTo>
                          <a:lnTo>
                            <a:pt x="1050" y="2438"/>
                          </a:lnTo>
                          <a:lnTo>
                            <a:pt x="1052" y="2447"/>
                          </a:lnTo>
                          <a:lnTo>
                            <a:pt x="1069" y="2465"/>
                          </a:lnTo>
                          <a:lnTo>
                            <a:pt x="1083" y="2476"/>
                          </a:lnTo>
                          <a:lnTo>
                            <a:pt x="1092" y="2490"/>
                          </a:lnTo>
                          <a:lnTo>
                            <a:pt x="1107" y="2501"/>
                          </a:lnTo>
                          <a:lnTo>
                            <a:pt x="1113" y="2515"/>
                          </a:lnTo>
                          <a:lnTo>
                            <a:pt x="1118" y="2530"/>
                          </a:lnTo>
                          <a:lnTo>
                            <a:pt x="1133" y="2544"/>
                          </a:lnTo>
                          <a:lnTo>
                            <a:pt x="1147" y="2567"/>
                          </a:lnTo>
                          <a:lnTo>
                            <a:pt x="1155" y="2581"/>
                          </a:lnTo>
                          <a:lnTo>
                            <a:pt x="1169" y="2595"/>
                          </a:lnTo>
                          <a:lnTo>
                            <a:pt x="1175" y="2605"/>
                          </a:lnTo>
                          <a:lnTo>
                            <a:pt x="1198" y="2619"/>
                          </a:lnTo>
                          <a:lnTo>
                            <a:pt x="1212" y="2633"/>
                          </a:lnTo>
                          <a:lnTo>
                            <a:pt x="1231" y="2633"/>
                          </a:lnTo>
                          <a:lnTo>
                            <a:pt x="1231" y="2607"/>
                          </a:lnTo>
                          <a:close/>
                          <a:moveTo>
                            <a:pt x="1455" y="2675"/>
                          </a:moveTo>
                          <a:lnTo>
                            <a:pt x="1445" y="2676"/>
                          </a:lnTo>
                          <a:lnTo>
                            <a:pt x="1439" y="2671"/>
                          </a:lnTo>
                          <a:lnTo>
                            <a:pt x="1434" y="2678"/>
                          </a:lnTo>
                          <a:lnTo>
                            <a:pt x="1425" y="2678"/>
                          </a:lnTo>
                          <a:lnTo>
                            <a:pt x="1419" y="2688"/>
                          </a:lnTo>
                          <a:lnTo>
                            <a:pt x="1428" y="2688"/>
                          </a:lnTo>
                          <a:lnTo>
                            <a:pt x="1440" y="2685"/>
                          </a:lnTo>
                          <a:lnTo>
                            <a:pt x="1460" y="2682"/>
                          </a:lnTo>
                          <a:lnTo>
                            <a:pt x="1455" y="2675"/>
                          </a:lnTo>
                          <a:close/>
                          <a:moveTo>
                            <a:pt x="1474" y="2693"/>
                          </a:moveTo>
                          <a:lnTo>
                            <a:pt x="1457" y="2698"/>
                          </a:lnTo>
                          <a:lnTo>
                            <a:pt x="1480" y="2708"/>
                          </a:lnTo>
                          <a:lnTo>
                            <a:pt x="1488" y="2708"/>
                          </a:lnTo>
                          <a:lnTo>
                            <a:pt x="1489" y="2704"/>
                          </a:lnTo>
                          <a:lnTo>
                            <a:pt x="1483" y="2699"/>
                          </a:lnTo>
                          <a:lnTo>
                            <a:pt x="1474" y="2693"/>
                          </a:lnTo>
                          <a:close/>
                          <a:moveTo>
                            <a:pt x="1459" y="2361"/>
                          </a:moveTo>
                          <a:lnTo>
                            <a:pt x="1469" y="2350"/>
                          </a:lnTo>
                          <a:lnTo>
                            <a:pt x="1466" y="2336"/>
                          </a:lnTo>
                          <a:lnTo>
                            <a:pt x="1457" y="2353"/>
                          </a:lnTo>
                          <a:lnTo>
                            <a:pt x="1448" y="2366"/>
                          </a:lnTo>
                          <a:lnTo>
                            <a:pt x="1435" y="2376"/>
                          </a:lnTo>
                          <a:lnTo>
                            <a:pt x="1426" y="2389"/>
                          </a:lnTo>
                          <a:lnTo>
                            <a:pt x="1449" y="2372"/>
                          </a:lnTo>
                          <a:lnTo>
                            <a:pt x="1459" y="2361"/>
                          </a:lnTo>
                          <a:close/>
                          <a:moveTo>
                            <a:pt x="1491" y="2556"/>
                          </a:moveTo>
                          <a:lnTo>
                            <a:pt x="1475" y="2541"/>
                          </a:lnTo>
                          <a:lnTo>
                            <a:pt x="1478" y="2529"/>
                          </a:lnTo>
                          <a:lnTo>
                            <a:pt x="1494" y="2525"/>
                          </a:lnTo>
                          <a:lnTo>
                            <a:pt x="1521" y="2525"/>
                          </a:lnTo>
                          <a:lnTo>
                            <a:pt x="1538" y="2529"/>
                          </a:lnTo>
                          <a:lnTo>
                            <a:pt x="1552" y="2525"/>
                          </a:lnTo>
                          <a:lnTo>
                            <a:pt x="1566" y="2509"/>
                          </a:lnTo>
                          <a:lnTo>
                            <a:pt x="1563" y="2504"/>
                          </a:lnTo>
                          <a:lnTo>
                            <a:pt x="1546" y="2516"/>
                          </a:lnTo>
                          <a:lnTo>
                            <a:pt x="1526" y="2518"/>
                          </a:lnTo>
                          <a:lnTo>
                            <a:pt x="1505" y="2515"/>
                          </a:lnTo>
                          <a:lnTo>
                            <a:pt x="1491" y="2510"/>
                          </a:lnTo>
                          <a:lnTo>
                            <a:pt x="1475" y="2522"/>
                          </a:lnTo>
                          <a:lnTo>
                            <a:pt x="1472" y="2530"/>
                          </a:lnTo>
                          <a:lnTo>
                            <a:pt x="1463" y="2556"/>
                          </a:lnTo>
                          <a:lnTo>
                            <a:pt x="1462" y="2568"/>
                          </a:lnTo>
                          <a:lnTo>
                            <a:pt x="1454" y="2581"/>
                          </a:lnTo>
                          <a:lnTo>
                            <a:pt x="1460" y="2592"/>
                          </a:lnTo>
                          <a:lnTo>
                            <a:pt x="1466" y="2592"/>
                          </a:lnTo>
                          <a:lnTo>
                            <a:pt x="1469" y="2608"/>
                          </a:lnTo>
                          <a:lnTo>
                            <a:pt x="1465" y="2625"/>
                          </a:lnTo>
                          <a:lnTo>
                            <a:pt x="1472" y="2630"/>
                          </a:lnTo>
                          <a:lnTo>
                            <a:pt x="1483" y="2627"/>
                          </a:lnTo>
                          <a:lnTo>
                            <a:pt x="1482" y="2602"/>
                          </a:lnTo>
                          <a:lnTo>
                            <a:pt x="1480" y="2582"/>
                          </a:lnTo>
                          <a:lnTo>
                            <a:pt x="1492" y="2578"/>
                          </a:lnTo>
                          <a:lnTo>
                            <a:pt x="1491" y="2595"/>
                          </a:lnTo>
                          <a:lnTo>
                            <a:pt x="1503" y="2604"/>
                          </a:lnTo>
                          <a:lnTo>
                            <a:pt x="1501" y="2612"/>
                          </a:lnTo>
                          <a:lnTo>
                            <a:pt x="1505" y="2616"/>
                          </a:lnTo>
                          <a:lnTo>
                            <a:pt x="1521" y="2608"/>
                          </a:lnTo>
                          <a:lnTo>
                            <a:pt x="1514" y="2622"/>
                          </a:lnTo>
                          <a:lnTo>
                            <a:pt x="1520" y="2628"/>
                          </a:lnTo>
                          <a:lnTo>
                            <a:pt x="1529" y="2624"/>
                          </a:lnTo>
                          <a:lnTo>
                            <a:pt x="1529" y="2613"/>
                          </a:lnTo>
                          <a:lnTo>
                            <a:pt x="1514" y="2593"/>
                          </a:lnTo>
                          <a:lnTo>
                            <a:pt x="1517" y="2587"/>
                          </a:lnTo>
                          <a:lnTo>
                            <a:pt x="1501" y="2565"/>
                          </a:lnTo>
                          <a:lnTo>
                            <a:pt x="1517" y="2558"/>
                          </a:lnTo>
                          <a:lnTo>
                            <a:pt x="1524" y="2548"/>
                          </a:lnTo>
                          <a:lnTo>
                            <a:pt x="1531" y="2550"/>
                          </a:lnTo>
                          <a:lnTo>
                            <a:pt x="1532" y="2542"/>
                          </a:lnTo>
                          <a:lnTo>
                            <a:pt x="1500" y="2548"/>
                          </a:lnTo>
                          <a:lnTo>
                            <a:pt x="1491" y="2556"/>
                          </a:lnTo>
                          <a:close/>
                          <a:moveTo>
                            <a:pt x="1498" y="2679"/>
                          </a:moveTo>
                          <a:lnTo>
                            <a:pt x="1488" y="2675"/>
                          </a:lnTo>
                          <a:lnTo>
                            <a:pt x="1474" y="2678"/>
                          </a:lnTo>
                          <a:lnTo>
                            <a:pt x="1474" y="2684"/>
                          </a:lnTo>
                          <a:lnTo>
                            <a:pt x="1497" y="2687"/>
                          </a:lnTo>
                          <a:lnTo>
                            <a:pt x="1523" y="2681"/>
                          </a:lnTo>
                          <a:lnTo>
                            <a:pt x="1524" y="2671"/>
                          </a:lnTo>
                          <a:lnTo>
                            <a:pt x="1509" y="2678"/>
                          </a:lnTo>
                          <a:lnTo>
                            <a:pt x="1498" y="2679"/>
                          </a:lnTo>
                          <a:close/>
                          <a:moveTo>
                            <a:pt x="1432" y="2530"/>
                          </a:moveTo>
                          <a:lnTo>
                            <a:pt x="1437" y="2519"/>
                          </a:lnTo>
                          <a:lnTo>
                            <a:pt x="1459" y="2516"/>
                          </a:lnTo>
                          <a:lnTo>
                            <a:pt x="1439" y="2501"/>
                          </a:lnTo>
                          <a:lnTo>
                            <a:pt x="1442" y="2493"/>
                          </a:lnTo>
                          <a:lnTo>
                            <a:pt x="1429" y="2476"/>
                          </a:lnTo>
                          <a:lnTo>
                            <a:pt x="1439" y="2461"/>
                          </a:lnTo>
                          <a:lnTo>
                            <a:pt x="1451" y="2456"/>
                          </a:lnTo>
                          <a:lnTo>
                            <a:pt x="1448" y="2447"/>
                          </a:lnTo>
                          <a:lnTo>
                            <a:pt x="1460" y="2447"/>
                          </a:lnTo>
                          <a:lnTo>
                            <a:pt x="1462" y="2439"/>
                          </a:lnTo>
                          <a:lnTo>
                            <a:pt x="1446" y="2435"/>
                          </a:lnTo>
                          <a:lnTo>
                            <a:pt x="1435" y="2430"/>
                          </a:lnTo>
                          <a:lnTo>
                            <a:pt x="1434" y="2422"/>
                          </a:lnTo>
                          <a:lnTo>
                            <a:pt x="1426" y="2413"/>
                          </a:lnTo>
                          <a:lnTo>
                            <a:pt x="1419" y="2413"/>
                          </a:lnTo>
                          <a:lnTo>
                            <a:pt x="1409" y="2427"/>
                          </a:lnTo>
                          <a:lnTo>
                            <a:pt x="1397" y="2439"/>
                          </a:lnTo>
                          <a:lnTo>
                            <a:pt x="1382" y="2449"/>
                          </a:lnTo>
                          <a:lnTo>
                            <a:pt x="1376" y="2455"/>
                          </a:lnTo>
                          <a:lnTo>
                            <a:pt x="1366" y="2465"/>
                          </a:lnTo>
                          <a:lnTo>
                            <a:pt x="1354" y="2479"/>
                          </a:lnTo>
                          <a:lnTo>
                            <a:pt x="1334" y="2482"/>
                          </a:lnTo>
                          <a:lnTo>
                            <a:pt x="1327" y="2487"/>
                          </a:lnTo>
                          <a:lnTo>
                            <a:pt x="1324" y="2501"/>
                          </a:lnTo>
                          <a:lnTo>
                            <a:pt x="1310" y="2504"/>
                          </a:lnTo>
                          <a:lnTo>
                            <a:pt x="1297" y="2498"/>
                          </a:lnTo>
                          <a:lnTo>
                            <a:pt x="1287" y="2510"/>
                          </a:lnTo>
                          <a:lnTo>
                            <a:pt x="1285" y="2525"/>
                          </a:lnTo>
                          <a:lnTo>
                            <a:pt x="1287" y="2541"/>
                          </a:lnTo>
                          <a:lnTo>
                            <a:pt x="1296" y="2555"/>
                          </a:lnTo>
                          <a:lnTo>
                            <a:pt x="1304" y="2559"/>
                          </a:lnTo>
                          <a:lnTo>
                            <a:pt x="1307" y="2582"/>
                          </a:lnTo>
                          <a:lnTo>
                            <a:pt x="1320" y="2585"/>
                          </a:lnTo>
                          <a:lnTo>
                            <a:pt x="1333" y="2584"/>
                          </a:lnTo>
                          <a:lnTo>
                            <a:pt x="1339" y="2592"/>
                          </a:lnTo>
                          <a:lnTo>
                            <a:pt x="1359" y="2585"/>
                          </a:lnTo>
                          <a:lnTo>
                            <a:pt x="1368" y="2592"/>
                          </a:lnTo>
                          <a:lnTo>
                            <a:pt x="1380" y="2593"/>
                          </a:lnTo>
                          <a:lnTo>
                            <a:pt x="1386" y="2602"/>
                          </a:lnTo>
                          <a:lnTo>
                            <a:pt x="1406" y="2595"/>
                          </a:lnTo>
                          <a:lnTo>
                            <a:pt x="1409" y="2601"/>
                          </a:lnTo>
                          <a:lnTo>
                            <a:pt x="1416" y="2575"/>
                          </a:lnTo>
                          <a:lnTo>
                            <a:pt x="1416" y="2558"/>
                          </a:lnTo>
                          <a:lnTo>
                            <a:pt x="1432" y="2545"/>
                          </a:lnTo>
                          <a:lnTo>
                            <a:pt x="1432" y="2530"/>
                          </a:lnTo>
                          <a:close/>
                          <a:moveTo>
                            <a:pt x="1313" y="2196"/>
                          </a:moveTo>
                          <a:lnTo>
                            <a:pt x="1320" y="2189"/>
                          </a:lnTo>
                          <a:lnTo>
                            <a:pt x="1317" y="2181"/>
                          </a:lnTo>
                          <a:lnTo>
                            <a:pt x="1307" y="2181"/>
                          </a:lnTo>
                          <a:lnTo>
                            <a:pt x="1288" y="2186"/>
                          </a:lnTo>
                          <a:lnTo>
                            <a:pt x="1279" y="2193"/>
                          </a:lnTo>
                          <a:lnTo>
                            <a:pt x="1281" y="2210"/>
                          </a:lnTo>
                          <a:lnTo>
                            <a:pt x="1294" y="2215"/>
                          </a:lnTo>
                          <a:lnTo>
                            <a:pt x="1310" y="2207"/>
                          </a:lnTo>
                          <a:lnTo>
                            <a:pt x="1313" y="2196"/>
                          </a:lnTo>
                          <a:close/>
                          <a:moveTo>
                            <a:pt x="1354" y="2662"/>
                          </a:moveTo>
                          <a:lnTo>
                            <a:pt x="1348" y="2651"/>
                          </a:lnTo>
                          <a:lnTo>
                            <a:pt x="1316" y="2644"/>
                          </a:lnTo>
                          <a:lnTo>
                            <a:pt x="1313" y="2650"/>
                          </a:lnTo>
                          <a:lnTo>
                            <a:pt x="1279" y="2648"/>
                          </a:lnTo>
                          <a:lnTo>
                            <a:pt x="1278" y="2642"/>
                          </a:lnTo>
                          <a:lnTo>
                            <a:pt x="1270" y="2641"/>
                          </a:lnTo>
                          <a:lnTo>
                            <a:pt x="1256" y="2635"/>
                          </a:lnTo>
                          <a:lnTo>
                            <a:pt x="1235" y="2633"/>
                          </a:lnTo>
                          <a:lnTo>
                            <a:pt x="1224" y="2650"/>
                          </a:lnTo>
                          <a:lnTo>
                            <a:pt x="1239" y="2651"/>
                          </a:lnTo>
                          <a:lnTo>
                            <a:pt x="1242" y="2659"/>
                          </a:lnTo>
                          <a:lnTo>
                            <a:pt x="1273" y="2665"/>
                          </a:lnTo>
                          <a:lnTo>
                            <a:pt x="1281" y="2664"/>
                          </a:lnTo>
                          <a:lnTo>
                            <a:pt x="1293" y="2665"/>
                          </a:lnTo>
                          <a:lnTo>
                            <a:pt x="1313" y="2671"/>
                          </a:lnTo>
                          <a:lnTo>
                            <a:pt x="1330" y="2675"/>
                          </a:lnTo>
                          <a:lnTo>
                            <a:pt x="1348" y="2676"/>
                          </a:lnTo>
                          <a:lnTo>
                            <a:pt x="1363" y="2676"/>
                          </a:lnTo>
                          <a:lnTo>
                            <a:pt x="1382" y="2682"/>
                          </a:lnTo>
                          <a:lnTo>
                            <a:pt x="1402" y="2676"/>
                          </a:lnTo>
                          <a:lnTo>
                            <a:pt x="1380" y="2667"/>
                          </a:lnTo>
                          <a:lnTo>
                            <a:pt x="1354" y="2662"/>
                          </a:lnTo>
                          <a:close/>
                        </a:path>
                      </a:pathLst>
                    </a:custGeom>
                    <a:solidFill>
                      <a:srgbClr val="D9D9D9"/>
                    </a:solidFill>
                    <a:ln w="4763" cap="flat">
                      <a:solidFill>
                        <a:srgbClr val="FFFFFF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endParaRPr lang="en-GB" sz="1000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3" name="Europe" descr="{&quot;Key&quot;:&quot;europe&quot;,&quot;Name&quot;:&quot;Europe&quot;,&quot;Value&quot;:1.0,&quot;Formula&quot;:&quot;&quot;,&quot;Text&quot;:&quot;&quot;,&quot;OfficeApplication&quot;:1,&quot;HasValue&quot;:true}">
                      <a:extLst>
                        <a:ext uri="{FF2B5EF4-FFF2-40B4-BE49-F238E27FC236}">
                          <a16:creationId xmlns:a16="http://schemas.microsoft.com/office/drawing/2014/main" id="{AD35967C-5260-4913-BDC0-5487FC7CCF5F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4188" y="354"/>
                      <a:ext cx="1603" cy="1863"/>
                    </a:xfrm>
                    <a:custGeom>
                      <a:avLst/>
                      <a:gdLst>
                        <a:gd name="T0" fmla="*/ 815 w 1603"/>
                        <a:gd name="T1" fmla="*/ 153 h 1863"/>
                        <a:gd name="T2" fmla="*/ 672 w 1603"/>
                        <a:gd name="T3" fmla="*/ 298 h 1863"/>
                        <a:gd name="T4" fmla="*/ 680 w 1603"/>
                        <a:gd name="T5" fmla="*/ 127 h 1863"/>
                        <a:gd name="T6" fmla="*/ 38 w 1603"/>
                        <a:gd name="T7" fmla="*/ 954 h 1863"/>
                        <a:gd name="T8" fmla="*/ 163 w 1603"/>
                        <a:gd name="T9" fmla="*/ 1039 h 1863"/>
                        <a:gd name="T10" fmla="*/ 368 w 1603"/>
                        <a:gd name="T11" fmla="*/ 1391 h 1863"/>
                        <a:gd name="T12" fmla="*/ 319 w 1603"/>
                        <a:gd name="T13" fmla="*/ 1498 h 1863"/>
                        <a:gd name="T14" fmla="*/ 448 w 1603"/>
                        <a:gd name="T15" fmla="*/ 1426 h 1863"/>
                        <a:gd name="T16" fmla="*/ 348 w 1603"/>
                        <a:gd name="T17" fmla="*/ 1282 h 1863"/>
                        <a:gd name="T18" fmla="*/ 1259 w 1603"/>
                        <a:gd name="T19" fmla="*/ 61 h 1863"/>
                        <a:gd name="T20" fmla="*/ 1219 w 1603"/>
                        <a:gd name="T21" fmla="*/ 70 h 1863"/>
                        <a:gd name="T22" fmla="*/ 1425 w 1603"/>
                        <a:gd name="T23" fmla="*/ 544 h 1863"/>
                        <a:gd name="T24" fmla="*/ 1381 w 1603"/>
                        <a:gd name="T25" fmla="*/ 524 h 1863"/>
                        <a:gd name="T26" fmla="*/ 678 w 1603"/>
                        <a:gd name="T27" fmla="*/ 1820 h 1863"/>
                        <a:gd name="T28" fmla="*/ 986 w 1603"/>
                        <a:gd name="T29" fmla="*/ 1863 h 1863"/>
                        <a:gd name="T30" fmla="*/ 844 w 1603"/>
                        <a:gd name="T31" fmla="*/ 1852 h 1863"/>
                        <a:gd name="T32" fmla="*/ 302 w 1603"/>
                        <a:gd name="T33" fmla="*/ 1355 h 1863"/>
                        <a:gd name="T34" fmla="*/ 1470 w 1603"/>
                        <a:gd name="T35" fmla="*/ 839 h 1863"/>
                        <a:gd name="T36" fmla="*/ 1242 w 1603"/>
                        <a:gd name="T37" fmla="*/ 934 h 1863"/>
                        <a:gd name="T38" fmla="*/ 1158 w 1603"/>
                        <a:gd name="T39" fmla="*/ 954 h 1863"/>
                        <a:gd name="T40" fmla="*/ 1019 w 1603"/>
                        <a:gd name="T41" fmla="*/ 996 h 1863"/>
                        <a:gd name="T42" fmla="*/ 971 w 1603"/>
                        <a:gd name="T43" fmla="*/ 791 h 1863"/>
                        <a:gd name="T44" fmla="*/ 673 w 1603"/>
                        <a:gd name="T45" fmla="*/ 893 h 1863"/>
                        <a:gd name="T46" fmla="*/ 609 w 1603"/>
                        <a:gd name="T47" fmla="*/ 1239 h 1863"/>
                        <a:gd name="T48" fmla="*/ 726 w 1603"/>
                        <a:gd name="T49" fmla="*/ 1177 h 1863"/>
                        <a:gd name="T50" fmla="*/ 805 w 1603"/>
                        <a:gd name="T51" fmla="*/ 1060 h 1863"/>
                        <a:gd name="T52" fmla="*/ 900 w 1603"/>
                        <a:gd name="T53" fmla="*/ 1217 h 1863"/>
                        <a:gd name="T54" fmla="*/ 807 w 1603"/>
                        <a:gd name="T55" fmla="*/ 1274 h 1863"/>
                        <a:gd name="T56" fmla="*/ 673 w 1603"/>
                        <a:gd name="T57" fmla="*/ 1388 h 1863"/>
                        <a:gd name="T58" fmla="*/ 603 w 1603"/>
                        <a:gd name="T59" fmla="*/ 1328 h 1863"/>
                        <a:gd name="T60" fmla="*/ 558 w 1603"/>
                        <a:gd name="T61" fmla="*/ 1345 h 1863"/>
                        <a:gd name="T62" fmla="*/ 476 w 1603"/>
                        <a:gd name="T63" fmla="*/ 1465 h 1863"/>
                        <a:gd name="T64" fmla="*/ 380 w 1603"/>
                        <a:gd name="T65" fmla="*/ 1578 h 1863"/>
                        <a:gd name="T66" fmla="*/ 264 w 1603"/>
                        <a:gd name="T67" fmla="*/ 1703 h 1863"/>
                        <a:gd name="T68" fmla="*/ 265 w 1603"/>
                        <a:gd name="T69" fmla="*/ 1814 h 1863"/>
                        <a:gd name="T70" fmla="*/ 382 w 1603"/>
                        <a:gd name="T71" fmla="*/ 1818 h 1863"/>
                        <a:gd name="T72" fmla="*/ 471 w 1603"/>
                        <a:gd name="T73" fmla="*/ 1689 h 1863"/>
                        <a:gd name="T74" fmla="*/ 612 w 1603"/>
                        <a:gd name="T75" fmla="*/ 1692 h 1863"/>
                        <a:gd name="T76" fmla="*/ 689 w 1603"/>
                        <a:gd name="T77" fmla="*/ 1786 h 1863"/>
                        <a:gd name="T78" fmla="*/ 735 w 1603"/>
                        <a:gd name="T79" fmla="*/ 1738 h 1863"/>
                        <a:gd name="T80" fmla="*/ 632 w 1603"/>
                        <a:gd name="T81" fmla="*/ 1632 h 1863"/>
                        <a:gd name="T82" fmla="*/ 684 w 1603"/>
                        <a:gd name="T83" fmla="*/ 1646 h 1863"/>
                        <a:gd name="T84" fmla="*/ 753 w 1603"/>
                        <a:gd name="T85" fmla="*/ 1714 h 1863"/>
                        <a:gd name="T86" fmla="*/ 805 w 1603"/>
                        <a:gd name="T87" fmla="*/ 1824 h 1863"/>
                        <a:gd name="T88" fmla="*/ 808 w 1603"/>
                        <a:gd name="T89" fmla="*/ 1740 h 1863"/>
                        <a:gd name="T90" fmla="*/ 887 w 1603"/>
                        <a:gd name="T91" fmla="*/ 1731 h 1863"/>
                        <a:gd name="T92" fmla="*/ 928 w 1603"/>
                        <a:gd name="T93" fmla="*/ 1628 h 1863"/>
                        <a:gd name="T94" fmla="*/ 992 w 1603"/>
                        <a:gd name="T95" fmla="*/ 1640 h 1863"/>
                        <a:gd name="T96" fmla="*/ 1077 w 1603"/>
                        <a:gd name="T97" fmla="*/ 1577 h 1863"/>
                        <a:gd name="T98" fmla="*/ 1123 w 1603"/>
                        <a:gd name="T99" fmla="*/ 1677 h 1863"/>
                        <a:gd name="T100" fmla="*/ 956 w 1603"/>
                        <a:gd name="T101" fmla="*/ 1721 h 1863"/>
                        <a:gd name="T102" fmla="*/ 942 w 1603"/>
                        <a:gd name="T103" fmla="*/ 1827 h 1863"/>
                        <a:gd name="T104" fmla="*/ 1051 w 1603"/>
                        <a:gd name="T105" fmla="*/ 1827 h 1863"/>
                        <a:gd name="T106" fmla="*/ 1181 w 1603"/>
                        <a:gd name="T107" fmla="*/ 1812 h 1863"/>
                        <a:gd name="T108" fmla="*/ 1246 w 1603"/>
                        <a:gd name="T109" fmla="*/ 1755 h 1863"/>
                        <a:gd name="T110" fmla="*/ 1273 w 1603"/>
                        <a:gd name="T111" fmla="*/ 1732 h 1863"/>
                        <a:gd name="T112" fmla="*/ 1246 w 1603"/>
                        <a:gd name="T113" fmla="*/ 1560 h 1863"/>
                        <a:gd name="T114" fmla="*/ 1377 w 1603"/>
                        <a:gd name="T115" fmla="*/ 1485 h 1863"/>
                        <a:gd name="T116" fmla="*/ 1436 w 1603"/>
                        <a:gd name="T117" fmla="*/ 1429 h 1863"/>
                        <a:gd name="T118" fmla="*/ 1404 w 1603"/>
                        <a:gd name="T119" fmla="*/ 1348 h 1863"/>
                        <a:gd name="T120" fmla="*/ 1505 w 1603"/>
                        <a:gd name="T121" fmla="*/ 1017 h 1863"/>
                        <a:gd name="T122" fmla="*/ 571 w 1603"/>
                        <a:gd name="T123" fmla="*/ 1771 h 1863"/>
                        <a:gd name="T124" fmla="*/ 569 w 1603"/>
                        <a:gd name="T125" fmla="*/ 1711 h 18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1603" h="1863">
                          <a:moveTo>
                            <a:pt x="775" y="302"/>
                          </a:moveTo>
                          <a:lnTo>
                            <a:pt x="787" y="282"/>
                          </a:lnTo>
                          <a:lnTo>
                            <a:pt x="776" y="255"/>
                          </a:lnTo>
                          <a:lnTo>
                            <a:pt x="813" y="238"/>
                          </a:lnTo>
                          <a:lnTo>
                            <a:pt x="819" y="270"/>
                          </a:lnTo>
                          <a:lnTo>
                            <a:pt x="844" y="289"/>
                          </a:lnTo>
                          <a:lnTo>
                            <a:pt x="805" y="321"/>
                          </a:lnTo>
                          <a:lnTo>
                            <a:pt x="775" y="302"/>
                          </a:lnTo>
                          <a:close/>
                          <a:moveTo>
                            <a:pt x="761" y="110"/>
                          </a:moveTo>
                          <a:lnTo>
                            <a:pt x="764" y="138"/>
                          </a:lnTo>
                          <a:lnTo>
                            <a:pt x="815" y="153"/>
                          </a:lnTo>
                          <a:lnTo>
                            <a:pt x="865" y="143"/>
                          </a:lnTo>
                          <a:lnTo>
                            <a:pt x="890" y="90"/>
                          </a:lnTo>
                          <a:lnTo>
                            <a:pt x="856" y="53"/>
                          </a:lnTo>
                          <a:lnTo>
                            <a:pt x="813" y="27"/>
                          </a:lnTo>
                          <a:lnTo>
                            <a:pt x="796" y="60"/>
                          </a:lnTo>
                          <a:lnTo>
                            <a:pt x="770" y="33"/>
                          </a:lnTo>
                          <a:lnTo>
                            <a:pt x="718" y="63"/>
                          </a:lnTo>
                          <a:lnTo>
                            <a:pt x="736" y="109"/>
                          </a:lnTo>
                          <a:lnTo>
                            <a:pt x="761" y="110"/>
                          </a:lnTo>
                          <a:close/>
                          <a:moveTo>
                            <a:pt x="646" y="275"/>
                          </a:moveTo>
                          <a:lnTo>
                            <a:pt x="672" y="298"/>
                          </a:lnTo>
                          <a:lnTo>
                            <a:pt x="655" y="327"/>
                          </a:lnTo>
                          <a:lnTo>
                            <a:pt x="692" y="373"/>
                          </a:lnTo>
                          <a:lnTo>
                            <a:pt x="713" y="370"/>
                          </a:lnTo>
                          <a:lnTo>
                            <a:pt x="721" y="306"/>
                          </a:lnTo>
                          <a:lnTo>
                            <a:pt x="736" y="290"/>
                          </a:lnTo>
                          <a:lnTo>
                            <a:pt x="746" y="229"/>
                          </a:lnTo>
                          <a:lnTo>
                            <a:pt x="790" y="193"/>
                          </a:lnTo>
                          <a:lnTo>
                            <a:pt x="733" y="124"/>
                          </a:lnTo>
                          <a:lnTo>
                            <a:pt x="712" y="90"/>
                          </a:lnTo>
                          <a:lnTo>
                            <a:pt x="686" y="93"/>
                          </a:lnTo>
                          <a:lnTo>
                            <a:pt x="680" y="127"/>
                          </a:lnTo>
                          <a:lnTo>
                            <a:pt x="655" y="129"/>
                          </a:lnTo>
                          <a:lnTo>
                            <a:pt x="646" y="93"/>
                          </a:lnTo>
                          <a:lnTo>
                            <a:pt x="598" y="129"/>
                          </a:lnTo>
                          <a:lnTo>
                            <a:pt x="612" y="201"/>
                          </a:lnTo>
                          <a:lnTo>
                            <a:pt x="646" y="275"/>
                          </a:lnTo>
                          <a:close/>
                          <a:moveTo>
                            <a:pt x="169" y="953"/>
                          </a:moveTo>
                          <a:lnTo>
                            <a:pt x="141" y="950"/>
                          </a:lnTo>
                          <a:lnTo>
                            <a:pt x="112" y="973"/>
                          </a:lnTo>
                          <a:lnTo>
                            <a:pt x="91" y="960"/>
                          </a:lnTo>
                          <a:lnTo>
                            <a:pt x="65" y="983"/>
                          </a:lnTo>
                          <a:lnTo>
                            <a:pt x="38" y="954"/>
                          </a:lnTo>
                          <a:lnTo>
                            <a:pt x="12" y="960"/>
                          </a:lnTo>
                          <a:lnTo>
                            <a:pt x="0" y="988"/>
                          </a:lnTo>
                          <a:lnTo>
                            <a:pt x="37" y="997"/>
                          </a:lnTo>
                          <a:lnTo>
                            <a:pt x="37" y="1010"/>
                          </a:lnTo>
                          <a:lnTo>
                            <a:pt x="6" y="1017"/>
                          </a:lnTo>
                          <a:lnTo>
                            <a:pt x="45" y="1037"/>
                          </a:lnTo>
                          <a:lnTo>
                            <a:pt x="28" y="1054"/>
                          </a:lnTo>
                          <a:lnTo>
                            <a:pt x="75" y="1066"/>
                          </a:lnTo>
                          <a:lnTo>
                            <a:pt x="98" y="1073"/>
                          </a:lnTo>
                          <a:lnTo>
                            <a:pt x="112" y="1066"/>
                          </a:lnTo>
                          <a:lnTo>
                            <a:pt x="163" y="1039"/>
                          </a:lnTo>
                          <a:lnTo>
                            <a:pt x="184" y="1008"/>
                          </a:lnTo>
                          <a:lnTo>
                            <a:pt x="166" y="980"/>
                          </a:lnTo>
                          <a:lnTo>
                            <a:pt x="169" y="953"/>
                          </a:lnTo>
                          <a:close/>
                          <a:moveTo>
                            <a:pt x="322" y="1351"/>
                          </a:moveTo>
                          <a:lnTo>
                            <a:pt x="331" y="1337"/>
                          </a:lnTo>
                          <a:lnTo>
                            <a:pt x="338" y="1345"/>
                          </a:lnTo>
                          <a:lnTo>
                            <a:pt x="331" y="1359"/>
                          </a:lnTo>
                          <a:lnTo>
                            <a:pt x="336" y="1366"/>
                          </a:lnTo>
                          <a:lnTo>
                            <a:pt x="356" y="1372"/>
                          </a:lnTo>
                          <a:lnTo>
                            <a:pt x="356" y="1372"/>
                          </a:lnTo>
                          <a:lnTo>
                            <a:pt x="368" y="1391"/>
                          </a:lnTo>
                          <a:lnTo>
                            <a:pt x="365" y="1408"/>
                          </a:lnTo>
                          <a:lnTo>
                            <a:pt x="365" y="1408"/>
                          </a:lnTo>
                          <a:lnTo>
                            <a:pt x="341" y="1405"/>
                          </a:lnTo>
                          <a:lnTo>
                            <a:pt x="338" y="1423"/>
                          </a:lnTo>
                          <a:lnTo>
                            <a:pt x="347" y="1438"/>
                          </a:lnTo>
                          <a:lnTo>
                            <a:pt x="328" y="1448"/>
                          </a:lnTo>
                          <a:lnTo>
                            <a:pt x="333" y="1458"/>
                          </a:lnTo>
                          <a:lnTo>
                            <a:pt x="361" y="1463"/>
                          </a:lnTo>
                          <a:lnTo>
                            <a:pt x="361" y="1463"/>
                          </a:lnTo>
                          <a:lnTo>
                            <a:pt x="345" y="1469"/>
                          </a:lnTo>
                          <a:lnTo>
                            <a:pt x="319" y="1498"/>
                          </a:lnTo>
                          <a:lnTo>
                            <a:pt x="328" y="1503"/>
                          </a:lnTo>
                          <a:lnTo>
                            <a:pt x="341" y="1492"/>
                          </a:lnTo>
                          <a:lnTo>
                            <a:pt x="356" y="1495"/>
                          </a:lnTo>
                          <a:lnTo>
                            <a:pt x="368" y="1483"/>
                          </a:lnTo>
                          <a:lnTo>
                            <a:pt x="376" y="1489"/>
                          </a:lnTo>
                          <a:lnTo>
                            <a:pt x="405" y="1482"/>
                          </a:lnTo>
                          <a:lnTo>
                            <a:pt x="428" y="1482"/>
                          </a:lnTo>
                          <a:lnTo>
                            <a:pt x="443" y="1468"/>
                          </a:lnTo>
                          <a:lnTo>
                            <a:pt x="437" y="1452"/>
                          </a:lnTo>
                          <a:lnTo>
                            <a:pt x="445" y="1445"/>
                          </a:lnTo>
                          <a:lnTo>
                            <a:pt x="448" y="1426"/>
                          </a:lnTo>
                          <a:lnTo>
                            <a:pt x="426" y="1422"/>
                          </a:lnTo>
                          <a:lnTo>
                            <a:pt x="422" y="1409"/>
                          </a:lnTo>
                          <a:lnTo>
                            <a:pt x="411" y="1377"/>
                          </a:lnTo>
                          <a:lnTo>
                            <a:pt x="399" y="1372"/>
                          </a:lnTo>
                          <a:lnTo>
                            <a:pt x="384" y="1337"/>
                          </a:lnTo>
                          <a:lnTo>
                            <a:pt x="384" y="1334"/>
                          </a:lnTo>
                          <a:lnTo>
                            <a:pt x="365" y="1331"/>
                          </a:lnTo>
                          <a:lnTo>
                            <a:pt x="380" y="1303"/>
                          </a:lnTo>
                          <a:lnTo>
                            <a:pt x="385" y="1277"/>
                          </a:lnTo>
                          <a:lnTo>
                            <a:pt x="367" y="1277"/>
                          </a:lnTo>
                          <a:lnTo>
                            <a:pt x="348" y="1282"/>
                          </a:lnTo>
                          <a:lnTo>
                            <a:pt x="367" y="1246"/>
                          </a:lnTo>
                          <a:lnTo>
                            <a:pt x="347" y="1249"/>
                          </a:lnTo>
                          <a:lnTo>
                            <a:pt x="333" y="1246"/>
                          </a:lnTo>
                          <a:lnTo>
                            <a:pt x="319" y="1272"/>
                          </a:lnTo>
                          <a:lnTo>
                            <a:pt x="313" y="1306"/>
                          </a:lnTo>
                          <a:lnTo>
                            <a:pt x="322" y="1322"/>
                          </a:lnTo>
                          <a:lnTo>
                            <a:pt x="322" y="1351"/>
                          </a:lnTo>
                          <a:close/>
                          <a:moveTo>
                            <a:pt x="1219" y="70"/>
                          </a:moveTo>
                          <a:lnTo>
                            <a:pt x="1238" y="95"/>
                          </a:lnTo>
                          <a:lnTo>
                            <a:pt x="1258" y="78"/>
                          </a:lnTo>
                          <a:lnTo>
                            <a:pt x="1259" y="61"/>
                          </a:lnTo>
                          <a:lnTo>
                            <a:pt x="1275" y="53"/>
                          </a:lnTo>
                          <a:lnTo>
                            <a:pt x="1299" y="40"/>
                          </a:lnTo>
                          <a:lnTo>
                            <a:pt x="1305" y="24"/>
                          </a:lnTo>
                          <a:lnTo>
                            <a:pt x="1279" y="0"/>
                          </a:lnTo>
                          <a:lnTo>
                            <a:pt x="1264" y="18"/>
                          </a:lnTo>
                          <a:lnTo>
                            <a:pt x="1253" y="43"/>
                          </a:lnTo>
                          <a:lnTo>
                            <a:pt x="1250" y="15"/>
                          </a:lnTo>
                          <a:lnTo>
                            <a:pt x="1224" y="15"/>
                          </a:lnTo>
                          <a:lnTo>
                            <a:pt x="1190" y="35"/>
                          </a:lnTo>
                          <a:lnTo>
                            <a:pt x="1229" y="38"/>
                          </a:lnTo>
                          <a:lnTo>
                            <a:pt x="1219" y="70"/>
                          </a:lnTo>
                          <a:close/>
                          <a:moveTo>
                            <a:pt x="1322" y="668"/>
                          </a:moveTo>
                          <a:lnTo>
                            <a:pt x="1304" y="681"/>
                          </a:lnTo>
                          <a:lnTo>
                            <a:pt x="1307" y="710"/>
                          </a:lnTo>
                          <a:lnTo>
                            <a:pt x="1338" y="725"/>
                          </a:lnTo>
                          <a:lnTo>
                            <a:pt x="1342" y="748"/>
                          </a:lnTo>
                          <a:lnTo>
                            <a:pt x="1399" y="754"/>
                          </a:lnTo>
                          <a:lnTo>
                            <a:pt x="1408" y="750"/>
                          </a:lnTo>
                          <a:lnTo>
                            <a:pt x="1376" y="707"/>
                          </a:lnTo>
                          <a:lnTo>
                            <a:pt x="1373" y="661"/>
                          </a:lnTo>
                          <a:lnTo>
                            <a:pt x="1399" y="604"/>
                          </a:lnTo>
                          <a:lnTo>
                            <a:pt x="1425" y="544"/>
                          </a:lnTo>
                          <a:lnTo>
                            <a:pt x="1479" y="481"/>
                          </a:lnTo>
                          <a:lnTo>
                            <a:pt x="1531" y="448"/>
                          </a:lnTo>
                          <a:lnTo>
                            <a:pt x="1592" y="413"/>
                          </a:lnTo>
                          <a:lnTo>
                            <a:pt x="1603" y="390"/>
                          </a:lnTo>
                          <a:lnTo>
                            <a:pt x="1591" y="361"/>
                          </a:lnTo>
                          <a:lnTo>
                            <a:pt x="1558" y="370"/>
                          </a:lnTo>
                          <a:lnTo>
                            <a:pt x="1528" y="398"/>
                          </a:lnTo>
                          <a:lnTo>
                            <a:pt x="1471" y="412"/>
                          </a:lnTo>
                          <a:lnTo>
                            <a:pt x="1414" y="458"/>
                          </a:lnTo>
                          <a:lnTo>
                            <a:pt x="1376" y="493"/>
                          </a:lnTo>
                          <a:lnTo>
                            <a:pt x="1381" y="524"/>
                          </a:lnTo>
                          <a:lnTo>
                            <a:pt x="1339" y="579"/>
                          </a:lnTo>
                          <a:lnTo>
                            <a:pt x="1354" y="587"/>
                          </a:lnTo>
                          <a:lnTo>
                            <a:pt x="1321" y="638"/>
                          </a:lnTo>
                          <a:lnTo>
                            <a:pt x="1322" y="668"/>
                          </a:lnTo>
                          <a:close/>
                          <a:moveTo>
                            <a:pt x="673" y="1787"/>
                          </a:moveTo>
                          <a:lnTo>
                            <a:pt x="655" y="1789"/>
                          </a:lnTo>
                          <a:lnTo>
                            <a:pt x="635" y="1787"/>
                          </a:lnTo>
                          <a:lnTo>
                            <a:pt x="632" y="1798"/>
                          </a:lnTo>
                          <a:lnTo>
                            <a:pt x="657" y="1809"/>
                          </a:lnTo>
                          <a:lnTo>
                            <a:pt x="666" y="1812"/>
                          </a:lnTo>
                          <a:lnTo>
                            <a:pt x="678" y="1820"/>
                          </a:lnTo>
                          <a:lnTo>
                            <a:pt x="683" y="1809"/>
                          </a:lnTo>
                          <a:lnTo>
                            <a:pt x="680" y="1803"/>
                          </a:lnTo>
                          <a:lnTo>
                            <a:pt x="686" y="1786"/>
                          </a:lnTo>
                          <a:lnTo>
                            <a:pt x="673" y="1787"/>
                          </a:lnTo>
                          <a:close/>
                          <a:moveTo>
                            <a:pt x="999" y="1846"/>
                          </a:moveTo>
                          <a:lnTo>
                            <a:pt x="986" y="1846"/>
                          </a:lnTo>
                          <a:lnTo>
                            <a:pt x="983" y="1850"/>
                          </a:lnTo>
                          <a:lnTo>
                            <a:pt x="982" y="1852"/>
                          </a:lnTo>
                          <a:lnTo>
                            <a:pt x="974" y="1852"/>
                          </a:lnTo>
                          <a:lnTo>
                            <a:pt x="977" y="1861"/>
                          </a:lnTo>
                          <a:lnTo>
                            <a:pt x="986" y="1863"/>
                          </a:lnTo>
                          <a:lnTo>
                            <a:pt x="1003" y="1855"/>
                          </a:lnTo>
                          <a:lnTo>
                            <a:pt x="1003" y="1854"/>
                          </a:lnTo>
                          <a:lnTo>
                            <a:pt x="1002" y="1849"/>
                          </a:lnTo>
                          <a:lnTo>
                            <a:pt x="1014" y="1840"/>
                          </a:lnTo>
                          <a:lnTo>
                            <a:pt x="999" y="1846"/>
                          </a:lnTo>
                          <a:close/>
                          <a:moveTo>
                            <a:pt x="862" y="1847"/>
                          </a:moveTo>
                          <a:lnTo>
                            <a:pt x="850" y="1846"/>
                          </a:lnTo>
                          <a:lnTo>
                            <a:pt x="836" y="1847"/>
                          </a:lnTo>
                          <a:lnTo>
                            <a:pt x="827" y="1840"/>
                          </a:lnTo>
                          <a:lnTo>
                            <a:pt x="824" y="1849"/>
                          </a:lnTo>
                          <a:lnTo>
                            <a:pt x="844" y="1852"/>
                          </a:lnTo>
                          <a:lnTo>
                            <a:pt x="844" y="1857"/>
                          </a:lnTo>
                          <a:lnTo>
                            <a:pt x="868" y="1854"/>
                          </a:lnTo>
                          <a:lnTo>
                            <a:pt x="871" y="1847"/>
                          </a:lnTo>
                          <a:lnTo>
                            <a:pt x="862" y="1850"/>
                          </a:lnTo>
                          <a:lnTo>
                            <a:pt x="862" y="1847"/>
                          </a:lnTo>
                          <a:close/>
                          <a:moveTo>
                            <a:pt x="272" y="1457"/>
                          </a:moveTo>
                          <a:lnTo>
                            <a:pt x="302" y="1440"/>
                          </a:lnTo>
                          <a:lnTo>
                            <a:pt x="315" y="1415"/>
                          </a:lnTo>
                          <a:lnTo>
                            <a:pt x="313" y="1394"/>
                          </a:lnTo>
                          <a:lnTo>
                            <a:pt x="322" y="1374"/>
                          </a:lnTo>
                          <a:lnTo>
                            <a:pt x="302" y="1355"/>
                          </a:lnTo>
                          <a:lnTo>
                            <a:pt x="288" y="1357"/>
                          </a:lnTo>
                          <a:lnTo>
                            <a:pt x="276" y="1371"/>
                          </a:lnTo>
                          <a:lnTo>
                            <a:pt x="252" y="1394"/>
                          </a:lnTo>
                          <a:lnTo>
                            <a:pt x="261" y="1423"/>
                          </a:lnTo>
                          <a:lnTo>
                            <a:pt x="247" y="1452"/>
                          </a:lnTo>
                          <a:lnTo>
                            <a:pt x="272" y="1457"/>
                          </a:lnTo>
                          <a:close/>
                          <a:moveTo>
                            <a:pt x="1535" y="825"/>
                          </a:moveTo>
                          <a:lnTo>
                            <a:pt x="1511" y="810"/>
                          </a:lnTo>
                          <a:lnTo>
                            <a:pt x="1460" y="794"/>
                          </a:lnTo>
                          <a:lnTo>
                            <a:pt x="1451" y="811"/>
                          </a:lnTo>
                          <a:lnTo>
                            <a:pt x="1470" y="839"/>
                          </a:lnTo>
                          <a:lnTo>
                            <a:pt x="1450" y="871"/>
                          </a:lnTo>
                          <a:lnTo>
                            <a:pt x="1430" y="842"/>
                          </a:lnTo>
                          <a:lnTo>
                            <a:pt x="1405" y="862"/>
                          </a:lnTo>
                          <a:lnTo>
                            <a:pt x="1373" y="864"/>
                          </a:lnTo>
                          <a:lnTo>
                            <a:pt x="1361" y="879"/>
                          </a:lnTo>
                          <a:lnTo>
                            <a:pt x="1339" y="874"/>
                          </a:lnTo>
                          <a:lnTo>
                            <a:pt x="1356" y="845"/>
                          </a:lnTo>
                          <a:lnTo>
                            <a:pt x="1342" y="844"/>
                          </a:lnTo>
                          <a:lnTo>
                            <a:pt x="1282" y="884"/>
                          </a:lnTo>
                          <a:lnTo>
                            <a:pt x="1247" y="905"/>
                          </a:lnTo>
                          <a:lnTo>
                            <a:pt x="1242" y="934"/>
                          </a:lnTo>
                          <a:lnTo>
                            <a:pt x="1216" y="943"/>
                          </a:lnTo>
                          <a:lnTo>
                            <a:pt x="1203" y="928"/>
                          </a:lnTo>
                          <a:lnTo>
                            <a:pt x="1203" y="904"/>
                          </a:lnTo>
                          <a:lnTo>
                            <a:pt x="1224" y="897"/>
                          </a:lnTo>
                          <a:lnTo>
                            <a:pt x="1215" y="871"/>
                          </a:lnTo>
                          <a:lnTo>
                            <a:pt x="1166" y="857"/>
                          </a:lnTo>
                          <a:lnTo>
                            <a:pt x="1180" y="885"/>
                          </a:lnTo>
                          <a:lnTo>
                            <a:pt x="1170" y="913"/>
                          </a:lnTo>
                          <a:lnTo>
                            <a:pt x="1184" y="939"/>
                          </a:lnTo>
                          <a:lnTo>
                            <a:pt x="1175" y="968"/>
                          </a:lnTo>
                          <a:lnTo>
                            <a:pt x="1158" y="954"/>
                          </a:lnTo>
                          <a:lnTo>
                            <a:pt x="1143" y="951"/>
                          </a:lnTo>
                          <a:lnTo>
                            <a:pt x="1103" y="993"/>
                          </a:lnTo>
                          <a:lnTo>
                            <a:pt x="1115" y="1023"/>
                          </a:lnTo>
                          <a:lnTo>
                            <a:pt x="1100" y="1033"/>
                          </a:lnTo>
                          <a:lnTo>
                            <a:pt x="1058" y="1008"/>
                          </a:lnTo>
                          <a:lnTo>
                            <a:pt x="1048" y="1023"/>
                          </a:lnTo>
                          <a:lnTo>
                            <a:pt x="1058" y="1040"/>
                          </a:lnTo>
                          <a:lnTo>
                            <a:pt x="1055" y="1059"/>
                          </a:lnTo>
                          <a:lnTo>
                            <a:pt x="1042" y="1050"/>
                          </a:lnTo>
                          <a:lnTo>
                            <a:pt x="1020" y="1037"/>
                          </a:lnTo>
                          <a:lnTo>
                            <a:pt x="1019" y="996"/>
                          </a:lnTo>
                          <a:lnTo>
                            <a:pt x="1019" y="976"/>
                          </a:lnTo>
                          <a:lnTo>
                            <a:pt x="989" y="945"/>
                          </a:lnTo>
                          <a:lnTo>
                            <a:pt x="1003" y="939"/>
                          </a:lnTo>
                          <a:lnTo>
                            <a:pt x="1080" y="971"/>
                          </a:lnTo>
                          <a:lnTo>
                            <a:pt x="1108" y="960"/>
                          </a:lnTo>
                          <a:lnTo>
                            <a:pt x="1126" y="937"/>
                          </a:lnTo>
                          <a:lnTo>
                            <a:pt x="1126" y="908"/>
                          </a:lnTo>
                          <a:lnTo>
                            <a:pt x="1112" y="887"/>
                          </a:lnTo>
                          <a:lnTo>
                            <a:pt x="1048" y="833"/>
                          </a:lnTo>
                          <a:lnTo>
                            <a:pt x="1000" y="822"/>
                          </a:lnTo>
                          <a:lnTo>
                            <a:pt x="971" y="791"/>
                          </a:lnTo>
                          <a:lnTo>
                            <a:pt x="954" y="810"/>
                          </a:lnTo>
                          <a:lnTo>
                            <a:pt x="936" y="777"/>
                          </a:lnTo>
                          <a:lnTo>
                            <a:pt x="957" y="764"/>
                          </a:lnTo>
                          <a:lnTo>
                            <a:pt x="904" y="725"/>
                          </a:lnTo>
                          <a:lnTo>
                            <a:pt x="873" y="736"/>
                          </a:lnTo>
                          <a:lnTo>
                            <a:pt x="841" y="734"/>
                          </a:lnTo>
                          <a:lnTo>
                            <a:pt x="815" y="777"/>
                          </a:lnTo>
                          <a:lnTo>
                            <a:pt x="787" y="774"/>
                          </a:lnTo>
                          <a:lnTo>
                            <a:pt x="749" y="796"/>
                          </a:lnTo>
                          <a:lnTo>
                            <a:pt x="701" y="857"/>
                          </a:lnTo>
                          <a:lnTo>
                            <a:pt x="673" y="893"/>
                          </a:lnTo>
                          <a:lnTo>
                            <a:pt x="632" y="977"/>
                          </a:lnTo>
                          <a:lnTo>
                            <a:pt x="600" y="1034"/>
                          </a:lnTo>
                          <a:lnTo>
                            <a:pt x="566" y="1074"/>
                          </a:lnTo>
                          <a:lnTo>
                            <a:pt x="520" y="1106"/>
                          </a:lnTo>
                          <a:lnTo>
                            <a:pt x="505" y="1129"/>
                          </a:lnTo>
                          <a:lnTo>
                            <a:pt x="511" y="1211"/>
                          </a:lnTo>
                          <a:lnTo>
                            <a:pt x="517" y="1248"/>
                          </a:lnTo>
                          <a:lnTo>
                            <a:pt x="540" y="1265"/>
                          </a:lnTo>
                          <a:lnTo>
                            <a:pt x="563" y="1257"/>
                          </a:lnTo>
                          <a:lnTo>
                            <a:pt x="597" y="1219"/>
                          </a:lnTo>
                          <a:lnTo>
                            <a:pt x="609" y="1239"/>
                          </a:lnTo>
                          <a:lnTo>
                            <a:pt x="621" y="1285"/>
                          </a:lnTo>
                          <a:lnTo>
                            <a:pt x="637" y="1320"/>
                          </a:lnTo>
                          <a:lnTo>
                            <a:pt x="641" y="1349"/>
                          </a:lnTo>
                          <a:lnTo>
                            <a:pt x="661" y="1348"/>
                          </a:lnTo>
                          <a:lnTo>
                            <a:pt x="672" y="1323"/>
                          </a:lnTo>
                          <a:lnTo>
                            <a:pt x="692" y="1326"/>
                          </a:lnTo>
                          <a:lnTo>
                            <a:pt x="703" y="1297"/>
                          </a:lnTo>
                          <a:lnTo>
                            <a:pt x="709" y="1243"/>
                          </a:lnTo>
                          <a:lnTo>
                            <a:pt x="727" y="1236"/>
                          </a:lnTo>
                          <a:lnTo>
                            <a:pt x="742" y="1197"/>
                          </a:lnTo>
                          <a:lnTo>
                            <a:pt x="726" y="1177"/>
                          </a:lnTo>
                          <a:lnTo>
                            <a:pt x="713" y="1153"/>
                          </a:lnTo>
                          <a:lnTo>
                            <a:pt x="726" y="1100"/>
                          </a:lnTo>
                          <a:lnTo>
                            <a:pt x="759" y="1068"/>
                          </a:lnTo>
                          <a:lnTo>
                            <a:pt x="787" y="1037"/>
                          </a:lnTo>
                          <a:lnTo>
                            <a:pt x="784" y="1011"/>
                          </a:lnTo>
                          <a:lnTo>
                            <a:pt x="801" y="983"/>
                          </a:lnTo>
                          <a:lnTo>
                            <a:pt x="830" y="971"/>
                          </a:lnTo>
                          <a:lnTo>
                            <a:pt x="854" y="991"/>
                          </a:lnTo>
                          <a:lnTo>
                            <a:pt x="856" y="1008"/>
                          </a:lnTo>
                          <a:lnTo>
                            <a:pt x="845" y="1017"/>
                          </a:lnTo>
                          <a:lnTo>
                            <a:pt x="805" y="1060"/>
                          </a:lnTo>
                          <a:lnTo>
                            <a:pt x="790" y="1085"/>
                          </a:lnTo>
                          <a:lnTo>
                            <a:pt x="781" y="1106"/>
                          </a:lnTo>
                          <a:lnTo>
                            <a:pt x="790" y="1140"/>
                          </a:lnTo>
                          <a:lnTo>
                            <a:pt x="785" y="1176"/>
                          </a:lnTo>
                          <a:lnTo>
                            <a:pt x="802" y="1186"/>
                          </a:lnTo>
                          <a:lnTo>
                            <a:pt x="813" y="1205"/>
                          </a:lnTo>
                          <a:lnTo>
                            <a:pt x="841" y="1199"/>
                          </a:lnTo>
                          <a:lnTo>
                            <a:pt x="871" y="1185"/>
                          </a:lnTo>
                          <a:lnTo>
                            <a:pt x="902" y="1182"/>
                          </a:lnTo>
                          <a:lnTo>
                            <a:pt x="920" y="1199"/>
                          </a:lnTo>
                          <a:lnTo>
                            <a:pt x="900" y="1217"/>
                          </a:lnTo>
                          <a:lnTo>
                            <a:pt x="882" y="1219"/>
                          </a:lnTo>
                          <a:lnTo>
                            <a:pt x="864" y="1213"/>
                          </a:lnTo>
                          <a:lnTo>
                            <a:pt x="842" y="1219"/>
                          </a:lnTo>
                          <a:lnTo>
                            <a:pt x="821" y="1228"/>
                          </a:lnTo>
                          <a:lnTo>
                            <a:pt x="822" y="1246"/>
                          </a:lnTo>
                          <a:lnTo>
                            <a:pt x="833" y="1259"/>
                          </a:lnTo>
                          <a:lnTo>
                            <a:pt x="839" y="1254"/>
                          </a:lnTo>
                          <a:lnTo>
                            <a:pt x="838" y="1274"/>
                          </a:lnTo>
                          <a:lnTo>
                            <a:pt x="834" y="1299"/>
                          </a:lnTo>
                          <a:lnTo>
                            <a:pt x="821" y="1299"/>
                          </a:lnTo>
                          <a:lnTo>
                            <a:pt x="807" y="1274"/>
                          </a:lnTo>
                          <a:lnTo>
                            <a:pt x="790" y="1286"/>
                          </a:lnTo>
                          <a:lnTo>
                            <a:pt x="782" y="1306"/>
                          </a:lnTo>
                          <a:lnTo>
                            <a:pt x="781" y="1329"/>
                          </a:lnTo>
                          <a:lnTo>
                            <a:pt x="785" y="1354"/>
                          </a:lnTo>
                          <a:lnTo>
                            <a:pt x="761" y="1365"/>
                          </a:lnTo>
                          <a:lnTo>
                            <a:pt x="758" y="1377"/>
                          </a:lnTo>
                          <a:lnTo>
                            <a:pt x="741" y="1377"/>
                          </a:lnTo>
                          <a:lnTo>
                            <a:pt x="739" y="1369"/>
                          </a:lnTo>
                          <a:lnTo>
                            <a:pt x="723" y="1365"/>
                          </a:lnTo>
                          <a:lnTo>
                            <a:pt x="701" y="1375"/>
                          </a:lnTo>
                          <a:lnTo>
                            <a:pt x="673" y="1388"/>
                          </a:lnTo>
                          <a:lnTo>
                            <a:pt x="661" y="1397"/>
                          </a:lnTo>
                          <a:lnTo>
                            <a:pt x="654" y="1388"/>
                          </a:lnTo>
                          <a:lnTo>
                            <a:pt x="635" y="1375"/>
                          </a:lnTo>
                          <a:lnTo>
                            <a:pt x="624" y="1385"/>
                          </a:lnTo>
                          <a:lnTo>
                            <a:pt x="607" y="1389"/>
                          </a:lnTo>
                          <a:lnTo>
                            <a:pt x="607" y="1379"/>
                          </a:lnTo>
                          <a:lnTo>
                            <a:pt x="591" y="1372"/>
                          </a:lnTo>
                          <a:lnTo>
                            <a:pt x="589" y="1360"/>
                          </a:lnTo>
                          <a:lnTo>
                            <a:pt x="584" y="1346"/>
                          </a:lnTo>
                          <a:lnTo>
                            <a:pt x="597" y="1325"/>
                          </a:lnTo>
                          <a:lnTo>
                            <a:pt x="603" y="1328"/>
                          </a:lnTo>
                          <a:lnTo>
                            <a:pt x="607" y="1316"/>
                          </a:lnTo>
                          <a:lnTo>
                            <a:pt x="597" y="1311"/>
                          </a:lnTo>
                          <a:lnTo>
                            <a:pt x="595" y="1302"/>
                          </a:lnTo>
                          <a:lnTo>
                            <a:pt x="600" y="1292"/>
                          </a:lnTo>
                          <a:lnTo>
                            <a:pt x="601" y="1276"/>
                          </a:lnTo>
                          <a:lnTo>
                            <a:pt x="588" y="1285"/>
                          </a:lnTo>
                          <a:lnTo>
                            <a:pt x="581" y="1294"/>
                          </a:lnTo>
                          <a:lnTo>
                            <a:pt x="566" y="1296"/>
                          </a:lnTo>
                          <a:lnTo>
                            <a:pt x="561" y="1305"/>
                          </a:lnTo>
                          <a:lnTo>
                            <a:pt x="558" y="1312"/>
                          </a:lnTo>
                          <a:lnTo>
                            <a:pt x="558" y="1345"/>
                          </a:lnTo>
                          <a:lnTo>
                            <a:pt x="566" y="1362"/>
                          </a:lnTo>
                          <a:lnTo>
                            <a:pt x="566" y="1379"/>
                          </a:lnTo>
                          <a:lnTo>
                            <a:pt x="571" y="1389"/>
                          </a:lnTo>
                          <a:lnTo>
                            <a:pt x="558" y="1403"/>
                          </a:lnTo>
                          <a:lnTo>
                            <a:pt x="555" y="1397"/>
                          </a:lnTo>
                          <a:lnTo>
                            <a:pt x="542" y="1399"/>
                          </a:lnTo>
                          <a:lnTo>
                            <a:pt x="538" y="1405"/>
                          </a:lnTo>
                          <a:lnTo>
                            <a:pt x="523" y="1405"/>
                          </a:lnTo>
                          <a:lnTo>
                            <a:pt x="500" y="1415"/>
                          </a:lnTo>
                          <a:lnTo>
                            <a:pt x="485" y="1457"/>
                          </a:lnTo>
                          <a:lnTo>
                            <a:pt x="476" y="1465"/>
                          </a:lnTo>
                          <a:lnTo>
                            <a:pt x="462" y="1471"/>
                          </a:lnTo>
                          <a:lnTo>
                            <a:pt x="448" y="1475"/>
                          </a:lnTo>
                          <a:lnTo>
                            <a:pt x="442" y="1498"/>
                          </a:lnTo>
                          <a:lnTo>
                            <a:pt x="402" y="1518"/>
                          </a:lnTo>
                          <a:lnTo>
                            <a:pt x="385" y="1508"/>
                          </a:lnTo>
                          <a:lnTo>
                            <a:pt x="391" y="1537"/>
                          </a:lnTo>
                          <a:lnTo>
                            <a:pt x="362" y="1531"/>
                          </a:lnTo>
                          <a:lnTo>
                            <a:pt x="341" y="1537"/>
                          </a:lnTo>
                          <a:lnTo>
                            <a:pt x="342" y="1555"/>
                          </a:lnTo>
                          <a:lnTo>
                            <a:pt x="368" y="1565"/>
                          </a:lnTo>
                          <a:lnTo>
                            <a:pt x="380" y="1578"/>
                          </a:lnTo>
                          <a:lnTo>
                            <a:pt x="399" y="1605"/>
                          </a:lnTo>
                          <a:lnTo>
                            <a:pt x="396" y="1652"/>
                          </a:lnTo>
                          <a:lnTo>
                            <a:pt x="387" y="1668"/>
                          </a:lnTo>
                          <a:lnTo>
                            <a:pt x="359" y="1666"/>
                          </a:lnTo>
                          <a:lnTo>
                            <a:pt x="344" y="1668"/>
                          </a:lnTo>
                          <a:lnTo>
                            <a:pt x="325" y="1663"/>
                          </a:lnTo>
                          <a:lnTo>
                            <a:pt x="302" y="1663"/>
                          </a:lnTo>
                          <a:lnTo>
                            <a:pt x="282" y="1658"/>
                          </a:lnTo>
                          <a:lnTo>
                            <a:pt x="258" y="1677"/>
                          </a:lnTo>
                          <a:lnTo>
                            <a:pt x="264" y="1686"/>
                          </a:lnTo>
                          <a:lnTo>
                            <a:pt x="264" y="1703"/>
                          </a:lnTo>
                          <a:lnTo>
                            <a:pt x="264" y="1711"/>
                          </a:lnTo>
                          <a:lnTo>
                            <a:pt x="269" y="1718"/>
                          </a:lnTo>
                          <a:lnTo>
                            <a:pt x="269" y="1729"/>
                          </a:lnTo>
                          <a:lnTo>
                            <a:pt x="264" y="1741"/>
                          </a:lnTo>
                          <a:lnTo>
                            <a:pt x="264" y="1751"/>
                          </a:lnTo>
                          <a:lnTo>
                            <a:pt x="256" y="1760"/>
                          </a:lnTo>
                          <a:lnTo>
                            <a:pt x="255" y="1774"/>
                          </a:lnTo>
                          <a:lnTo>
                            <a:pt x="259" y="1781"/>
                          </a:lnTo>
                          <a:lnTo>
                            <a:pt x="267" y="1784"/>
                          </a:lnTo>
                          <a:lnTo>
                            <a:pt x="269" y="1797"/>
                          </a:lnTo>
                          <a:lnTo>
                            <a:pt x="265" y="1814"/>
                          </a:lnTo>
                          <a:lnTo>
                            <a:pt x="275" y="1812"/>
                          </a:lnTo>
                          <a:lnTo>
                            <a:pt x="284" y="1815"/>
                          </a:lnTo>
                          <a:lnTo>
                            <a:pt x="292" y="1809"/>
                          </a:lnTo>
                          <a:lnTo>
                            <a:pt x="307" y="1812"/>
                          </a:lnTo>
                          <a:lnTo>
                            <a:pt x="311" y="1824"/>
                          </a:lnTo>
                          <a:lnTo>
                            <a:pt x="318" y="1832"/>
                          </a:lnTo>
                          <a:lnTo>
                            <a:pt x="327" y="1834"/>
                          </a:lnTo>
                          <a:lnTo>
                            <a:pt x="333" y="1826"/>
                          </a:lnTo>
                          <a:lnTo>
                            <a:pt x="344" y="1818"/>
                          </a:lnTo>
                          <a:lnTo>
                            <a:pt x="361" y="1818"/>
                          </a:lnTo>
                          <a:lnTo>
                            <a:pt x="382" y="1818"/>
                          </a:lnTo>
                          <a:lnTo>
                            <a:pt x="394" y="1801"/>
                          </a:lnTo>
                          <a:lnTo>
                            <a:pt x="408" y="1798"/>
                          </a:lnTo>
                          <a:lnTo>
                            <a:pt x="411" y="1783"/>
                          </a:lnTo>
                          <a:lnTo>
                            <a:pt x="420" y="1774"/>
                          </a:lnTo>
                          <a:lnTo>
                            <a:pt x="414" y="1761"/>
                          </a:lnTo>
                          <a:lnTo>
                            <a:pt x="420" y="1743"/>
                          </a:lnTo>
                          <a:lnTo>
                            <a:pt x="431" y="1731"/>
                          </a:lnTo>
                          <a:lnTo>
                            <a:pt x="433" y="1723"/>
                          </a:lnTo>
                          <a:lnTo>
                            <a:pt x="456" y="1718"/>
                          </a:lnTo>
                          <a:lnTo>
                            <a:pt x="471" y="1703"/>
                          </a:lnTo>
                          <a:lnTo>
                            <a:pt x="471" y="1689"/>
                          </a:lnTo>
                          <a:lnTo>
                            <a:pt x="473" y="1675"/>
                          </a:lnTo>
                          <a:lnTo>
                            <a:pt x="497" y="1668"/>
                          </a:lnTo>
                          <a:lnTo>
                            <a:pt x="531" y="1674"/>
                          </a:lnTo>
                          <a:lnTo>
                            <a:pt x="548" y="1660"/>
                          </a:lnTo>
                          <a:lnTo>
                            <a:pt x="554" y="1658"/>
                          </a:lnTo>
                          <a:lnTo>
                            <a:pt x="565" y="1648"/>
                          </a:lnTo>
                          <a:lnTo>
                            <a:pt x="572" y="1644"/>
                          </a:lnTo>
                          <a:lnTo>
                            <a:pt x="586" y="1652"/>
                          </a:lnTo>
                          <a:lnTo>
                            <a:pt x="595" y="1655"/>
                          </a:lnTo>
                          <a:lnTo>
                            <a:pt x="600" y="1678"/>
                          </a:lnTo>
                          <a:lnTo>
                            <a:pt x="612" y="1692"/>
                          </a:lnTo>
                          <a:lnTo>
                            <a:pt x="627" y="1708"/>
                          </a:lnTo>
                          <a:lnTo>
                            <a:pt x="641" y="1717"/>
                          </a:lnTo>
                          <a:lnTo>
                            <a:pt x="654" y="1718"/>
                          </a:lnTo>
                          <a:lnTo>
                            <a:pt x="661" y="1727"/>
                          </a:lnTo>
                          <a:lnTo>
                            <a:pt x="672" y="1732"/>
                          </a:lnTo>
                          <a:lnTo>
                            <a:pt x="677" y="1741"/>
                          </a:lnTo>
                          <a:lnTo>
                            <a:pt x="684" y="1744"/>
                          </a:lnTo>
                          <a:lnTo>
                            <a:pt x="689" y="1757"/>
                          </a:lnTo>
                          <a:lnTo>
                            <a:pt x="696" y="1769"/>
                          </a:lnTo>
                          <a:lnTo>
                            <a:pt x="692" y="1774"/>
                          </a:lnTo>
                          <a:lnTo>
                            <a:pt x="689" y="1786"/>
                          </a:lnTo>
                          <a:lnTo>
                            <a:pt x="689" y="1792"/>
                          </a:lnTo>
                          <a:lnTo>
                            <a:pt x="696" y="1791"/>
                          </a:lnTo>
                          <a:lnTo>
                            <a:pt x="706" y="1772"/>
                          </a:lnTo>
                          <a:lnTo>
                            <a:pt x="712" y="1771"/>
                          </a:lnTo>
                          <a:lnTo>
                            <a:pt x="715" y="1758"/>
                          </a:lnTo>
                          <a:lnTo>
                            <a:pt x="703" y="1751"/>
                          </a:lnTo>
                          <a:lnTo>
                            <a:pt x="709" y="1735"/>
                          </a:lnTo>
                          <a:lnTo>
                            <a:pt x="724" y="1740"/>
                          </a:lnTo>
                          <a:lnTo>
                            <a:pt x="733" y="1751"/>
                          </a:lnTo>
                          <a:lnTo>
                            <a:pt x="736" y="1741"/>
                          </a:lnTo>
                          <a:lnTo>
                            <a:pt x="735" y="1738"/>
                          </a:lnTo>
                          <a:lnTo>
                            <a:pt x="721" y="1726"/>
                          </a:lnTo>
                          <a:lnTo>
                            <a:pt x="707" y="1720"/>
                          </a:lnTo>
                          <a:lnTo>
                            <a:pt x="692" y="1711"/>
                          </a:lnTo>
                          <a:lnTo>
                            <a:pt x="698" y="1706"/>
                          </a:lnTo>
                          <a:lnTo>
                            <a:pt x="693" y="1701"/>
                          </a:lnTo>
                          <a:lnTo>
                            <a:pt x="680" y="1701"/>
                          </a:lnTo>
                          <a:lnTo>
                            <a:pt x="661" y="1683"/>
                          </a:lnTo>
                          <a:lnTo>
                            <a:pt x="652" y="1663"/>
                          </a:lnTo>
                          <a:lnTo>
                            <a:pt x="635" y="1651"/>
                          </a:lnTo>
                          <a:lnTo>
                            <a:pt x="630" y="1638"/>
                          </a:lnTo>
                          <a:lnTo>
                            <a:pt x="632" y="1632"/>
                          </a:lnTo>
                          <a:lnTo>
                            <a:pt x="630" y="1620"/>
                          </a:lnTo>
                          <a:lnTo>
                            <a:pt x="646" y="1611"/>
                          </a:lnTo>
                          <a:lnTo>
                            <a:pt x="658" y="1615"/>
                          </a:lnTo>
                          <a:lnTo>
                            <a:pt x="655" y="1617"/>
                          </a:lnTo>
                          <a:lnTo>
                            <a:pt x="655" y="1617"/>
                          </a:lnTo>
                          <a:lnTo>
                            <a:pt x="654" y="1626"/>
                          </a:lnTo>
                          <a:lnTo>
                            <a:pt x="660" y="1634"/>
                          </a:lnTo>
                          <a:lnTo>
                            <a:pt x="664" y="1623"/>
                          </a:lnTo>
                          <a:lnTo>
                            <a:pt x="675" y="1628"/>
                          </a:lnTo>
                          <a:lnTo>
                            <a:pt x="675" y="1635"/>
                          </a:lnTo>
                          <a:lnTo>
                            <a:pt x="684" y="1646"/>
                          </a:lnTo>
                          <a:lnTo>
                            <a:pt x="680" y="1648"/>
                          </a:lnTo>
                          <a:lnTo>
                            <a:pt x="695" y="1664"/>
                          </a:lnTo>
                          <a:lnTo>
                            <a:pt x="710" y="1672"/>
                          </a:lnTo>
                          <a:lnTo>
                            <a:pt x="721" y="1680"/>
                          </a:lnTo>
                          <a:lnTo>
                            <a:pt x="736" y="1689"/>
                          </a:lnTo>
                          <a:lnTo>
                            <a:pt x="736" y="1689"/>
                          </a:lnTo>
                          <a:lnTo>
                            <a:pt x="744" y="1694"/>
                          </a:lnTo>
                          <a:lnTo>
                            <a:pt x="749" y="1701"/>
                          </a:lnTo>
                          <a:lnTo>
                            <a:pt x="752" y="1703"/>
                          </a:lnTo>
                          <a:lnTo>
                            <a:pt x="755" y="1706"/>
                          </a:lnTo>
                          <a:lnTo>
                            <a:pt x="753" y="1714"/>
                          </a:lnTo>
                          <a:lnTo>
                            <a:pt x="752" y="1729"/>
                          </a:lnTo>
                          <a:lnTo>
                            <a:pt x="753" y="1740"/>
                          </a:lnTo>
                          <a:lnTo>
                            <a:pt x="762" y="1747"/>
                          </a:lnTo>
                          <a:lnTo>
                            <a:pt x="762" y="1752"/>
                          </a:lnTo>
                          <a:lnTo>
                            <a:pt x="765" y="1754"/>
                          </a:lnTo>
                          <a:lnTo>
                            <a:pt x="767" y="1760"/>
                          </a:lnTo>
                          <a:lnTo>
                            <a:pt x="776" y="1774"/>
                          </a:lnTo>
                          <a:lnTo>
                            <a:pt x="782" y="1783"/>
                          </a:lnTo>
                          <a:lnTo>
                            <a:pt x="785" y="1798"/>
                          </a:lnTo>
                          <a:lnTo>
                            <a:pt x="792" y="1815"/>
                          </a:lnTo>
                          <a:lnTo>
                            <a:pt x="805" y="1824"/>
                          </a:lnTo>
                          <a:lnTo>
                            <a:pt x="818" y="1824"/>
                          </a:lnTo>
                          <a:lnTo>
                            <a:pt x="811" y="1804"/>
                          </a:lnTo>
                          <a:lnTo>
                            <a:pt x="822" y="1803"/>
                          </a:lnTo>
                          <a:lnTo>
                            <a:pt x="816" y="1792"/>
                          </a:lnTo>
                          <a:lnTo>
                            <a:pt x="833" y="1797"/>
                          </a:lnTo>
                          <a:lnTo>
                            <a:pt x="833" y="1784"/>
                          </a:lnTo>
                          <a:lnTo>
                            <a:pt x="824" y="1778"/>
                          </a:lnTo>
                          <a:lnTo>
                            <a:pt x="815" y="1769"/>
                          </a:lnTo>
                          <a:lnTo>
                            <a:pt x="821" y="1764"/>
                          </a:lnTo>
                          <a:lnTo>
                            <a:pt x="811" y="1754"/>
                          </a:lnTo>
                          <a:lnTo>
                            <a:pt x="808" y="1740"/>
                          </a:lnTo>
                          <a:lnTo>
                            <a:pt x="811" y="1735"/>
                          </a:lnTo>
                          <a:lnTo>
                            <a:pt x="821" y="1746"/>
                          </a:lnTo>
                          <a:lnTo>
                            <a:pt x="830" y="1746"/>
                          </a:lnTo>
                          <a:lnTo>
                            <a:pt x="839" y="1743"/>
                          </a:lnTo>
                          <a:lnTo>
                            <a:pt x="827" y="1731"/>
                          </a:lnTo>
                          <a:lnTo>
                            <a:pt x="848" y="1724"/>
                          </a:lnTo>
                          <a:lnTo>
                            <a:pt x="858" y="1726"/>
                          </a:lnTo>
                          <a:lnTo>
                            <a:pt x="867" y="1727"/>
                          </a:lnTo>
                          <a:lnTo>
                            <a:pt x="867" y="1732"/>
                          </a:lnTo>
                          <a:lnTo>
                            <a:pt x="873" y="1743"/>
                          </a:lnTo>
                          <a:lnTo>
                            <a:pt x="887" y="1731"/>
                          </a:lnTo>
                          <a:lnTo>
                            <a:pt x="894" y="1723"/>
                          </a:lnTo>
                          <a:lnTo>
                            <a:pt x="914" y="1721"/>
                          </a:lnTo>
                          <a:lnTo>
                            <a:pt x="917" y="1717"/>
                          </a:lnTo>
                          <a:lnTo>
                            <a:pt x="902" y="1709"/>
                          </a:lnTo>
                          <a:lnTo>
                            <a:pt x="900" y="1700"/>
                          </a:lnTo>
                          <a:lnTo>
                            <a:pt x="896" y="1688"/>
                          </a:lnTo>
                          <a:lnTo>
                            <a:pt x="902" y="1671"/>
                          </a:lnTo>
                          <a:lnTo>
                            <a:pt x="910" y="1660"/>
                          </a:lnTo>
                          <a:lnTo>
                            <a:pt x="916" y="1631"/>
                          </a:lnTo>
                          <a:lnTo>
                            <a:pt x="920" y="1634"/>
                          </a:lnTo>
                          <a:lnTo>
                            <a:pt x="928" y="1628"/>
                          </a:lnTo>
                          <a:lnTo>
                            <a:pt x="928" y="1621"/>
                          </a:lnTo>
                          <a:lnTo>
                            <a:pt x="942" y="1605"/>
                          </a:lnTo>
                          <a:lnTo>
                            <a:pt x="948" y="1591"/>
                          </a:lnTo>
                          <a:lnTo>
                            <a:pt x="963" y="1588"/>
                          </a:lnTo>
                          <a:lnTo>
                            <a:pt x="965" y="1597"/>
                          </a:lnTo>
                          <a:lnTo>
                            <a:pt x="992" y="1603"/>
                          </a:lnTo>
                          <a:lnTo>
                            <a:pt x="997" y="1608"/>
                          </a:lnTo>
                          <a:lnTo>
                            <a:pt x="980" y="1617"/>
                          </a:lnTo>
                          <a:lnTo>
                            <a:pt x="977" y="1621"/>
                          </a:lnTo>
                          <a:lnTo>
                            <a:pt x="996" y="1628"/>
                          </a:lnTo>
                          <a:lnTo>
                            <a:pt x="992" y="1640"/>
                          </a:lnTo>
                          <a:lnTo>
                            <a:pt x="1002" y="1644"/>
                          </a:lnTo>
                          <a:lnTo>
                            <a:pt x="1025" y="1631"/>
                          </a:lnTo>
                          <a:lnTo>
                            <a:pt x="1045" y="1626"/>
                          </a:lnTo>
                          <a:lnTo>
                            <a:pt x="1048" y="1617"/>
                          </a:lnTo>
                          <a:lnTo>
                            <a:pt x="1029" y="1618"/>
                          </a:lnTo>
                          <a:lnTo>
                            <a:pt x="1022" y="1614"/>
                          </a:lnTo>
                          <a:lnTo>
                            <a:pt x="1020" y="1598"/>
                          </a:lnTo>
                          <a:lnTo>
                            <a:pt x="1035" y="1589"/>
                          </a:lnTo>
                          <a:lnTo>
                            <a:pt x="1052" y="1588"/>
                          </a:lnTo>
                          <a:lnTo>
                            <a:pt x="1063" y="1578"/>
                          </a:lnTo>
                          <a:lnTo>
                            <a:pt x="1077" y="1577"/>
                          </a:lnTo>
                          <a:lnTo>
                            <a:pt x="1092" y="1572"/>
                          </a:lnTo>
                          <a:lnTo>
                            <a:pt x="1092" y="1578"/>
                          </a:lnTo>
                          <a:lnTo>
                            <a:pt x="1068" y="1589"/>
                          </a:lnTo>
                          <a:lnTo>
                            <a:pt x="1077" y="1598"/>
                          </a:lnTo>
                          <a:lnTo>
                            <a:pt x="1063" y="1620"/>
                          </a:lnTo>
                          <a:lnTo>
                            <a:pt x="1051" y="1623"/>
                          </a:lnTo>
                          <a:lnTo>
                            <a:pt x="1065" y="1637"/>
                          </a:lnTo>
                          <a:lnTo>
                            <a:pt x="1085" y="1646"/>
                          </a:lnTo>
                          <a:lnTo>
                            <a:pt x="1106" y="1666"/>
                          </a:lnTo>
                          <a:lnTo>
                            <a:pt x="1112" y="1674"/>
                          </a:lnTo>
                          <a:lnTo>
                            <a:pt x="1123" y="1677"/>
                          </a:lnTo>
                          <a:lnTo>
                            <a:pt x="1132" y="1684"/>
                          </a:lnTo>
                          <a:lnTo>
                            <a:pt x="1137" y="1701"/>
                          </a:lnTo>
                          <a:lnTo>
                            <a:pt x="1134" y="1711"/>
                          </a:lnTo>
                          <a:lnTo>
                            <a:pt x="1114" y="1723"/>
                          </a:lnTo>
                          <a:lnTo>
                            <a:pt x="1098" y="1721"/>
                          </a:lnTo>
                          <a:lnTo>
                            <a:pt x="1078" y="1724"/>
                          </a:lnTo>
                          <a:lnTo>
                            <a:pt x="1054" y="1715"/>
                          </a:lnTo>
                          <a:lnTo>
                            <a:pt x="1025" y="1700"/>
                          </a:lnTo>
                          <a:lnTo>
                            <a:pt x="996" y="1700"/>
                          </a:lnTo>
                          <a:lnTo>
                            <a:pt x="976" y="1706"/>
                          </a:lnTo>
                          <a:lnTo>
                            <a:pt x="956" y="1721"/>
                          </a:lnTo>
                          <a:lnTo>
                            <a:pt x="922" y="1718"/>
                          </a:lnTo>
                          <a:lnTo>
                            <a:pt x="914" y="1735"/>
                          </a:lnTo>
                          <a:lnTo>
                            <a:pt x="888" y="1737"/>
                          </a:lnTo>
                          <a:lnTo>
                            <a:pt x="870" y="1758"/>
                          </a:lnTo>
                          <a:lnTo>
                            <a:pt x="881" y="1769"/>
                          </a:lnTo>
                          <a:lnTo>
                            <a:pt x="871" y="1786"/>
                          </a:lnTo>
                          <a:lnTo>
                            <a:pt x="885" y="1798"/>
                          </a:lnTo>
                          <a:lnTo>
                            <a:pt x="894" y="1818"/>
                          </a:lnTo>
                          <a:lnTo>
                            <a:pt x="914" y="1818"/>
                          </a:lnTo>
                          <a:lnTo>
                            <a:pt x="930" y="1830"/>
                          </a:lnTo>
                          <a:lnTo>
                            <a:pt x="942" y="1827"/>
                          </a:lnTo>
                          <a:lnTo>
                            <a:pt x="946" y="1818"/>
                          </a:lnTo>
                          <a:lnTo>
                            <a:pt x="965" y="1820"/>
                          </a:lnTo>
                          <a:lnTo>
                            <a:pt x="979" y="1830"/>
                          </a:lnTo>
                          <a:lnTo>
                            <a:pt x="1005" y="1829"/>
                          </a:lnTo>
                          <a:lnTo>
                            <a:pt x="1017" y="1817"/>
                          </a:lnTo>
                          <a:lnTo>
                            <a:pt x="1031" y="1821"/>
                          </a:lnTo>
                          <a:lnTo>
                            <a:pt x="1042" y="1820"/>
                          </a:lnTo>
                          <a:lnTo>
                            <a:pt x="1035" y="1827"/>
                          </a:lnTo>
                          <a:lnTo>
                            <a:pt x="1042" y="1837"/>
                          </a:lnTo>
                          <a:lnTo>
                            <a:pt x="1046" y="1832"/>
                          </a:lnTo>
                          <a:lnTo>
                            <a:pt x="1051" y="1827"/>
                          </a:lnTo>
                          <a:lnTo>
                            <a:pt x="1051" y="1815"/>
                          </a:lnTo>
                          <a:lnTo>
                            <a:pt x="1057" y="1820"/>
                          </a:lnTo>
                          <a:lnTo>
                            <a:pt x="1075" y="1814"/>
                          </a:lnTo>
                          <a:lnTo>
                            <a:pt x="1085" y="1818"/>
                          </a:lnTo>
                          <a:lnTo>
                            <a:pt x="1100" y="1818"/>
                          </a:lnTo>
                          <a:lnTo>
                            <a:pt x="1120" y="1809"/>
                          </a:lnTo>
                          <a:lnTo>
                            <a:pt x="1129" y="1811"/>
                          </a:lnTo>
                          <a:lnTo>
                            <a:pt x="1147" y="1806"/>
                          </a:lnTo>
                          <a:lnTo>
                            <a:pt x="1155" y="1803"/>
                          </a:lnTo>
                          <a:lnTo>
                            <a:pt x="1175" y="1806"/>
                          </a:lnTo>
                          <a:lnTo>
                            <a:pt x="1181" y="1812"/>
                          </a:lnTo>
                          <a:lnTo>
                            <a:pt x="1189" y="1807"/>
                          </a:lnTo>
                          <a:lnTo>
                            <a:pt x="1180" y="1791"/>
                          </a:lnTo>
                          <a:lnTo>
                            <a:pt x="1184" y="1784"/>
                          </a:lnTo>
                          <a:lnTo>
                            <a:pt x="1178" y="1758"/>
                          </a:lnTo>
                          <a:lnTo>
                            <a:pt x="1190" y="1752"/>
                          </a:lnTo>
                          <a:lnTo>
                            <a:pt x="1192" y="1761"/>
                          </a:lnTo>
                          <a:lnTo>
                            <a:pt x="1201" y="1771"/>
                          </a:lnTo>
                          <a:lnTo>
                            <a:pt x="1213" y="1774"/>
                          </a:lnTo>
                          <a:lnTo>
                            <a:pt x="1219" y="1774"/>
                          </a:lnTo>
                          <a:lnTo>
                            <a:pt x="1239" y="1757"/>
                          </a:lnTo>
                          <a:lnTo>
                            <a:pt x="1246" y="1755"/>
                          </a:lnTo>
                          <a:lnTo>
                            <a:pt x="1252" y="1761"/>
                          </a:lnTo>
                          <a:lnTo>
                            <a:pt x="1246" y="1772"/>
                          </a:lnTo>
                          <a:lnTo>
                            <a:pt x="1256" y="1784"/>
                          </a:lnTo>
                          <a:lnTo>
                            <a:pt x="1261" y="1783"/>
                          </a:lnTo>
                          <a:lnTo>
                            <a:pt x="1259" y="1772"/>
                          </a:lnTo>
                          <a:lnTo>
                            <a:pt x="1266" y="1767"/>
                          </a:lnTo>
                          <a:lnTo>
                            <a:pt x="1269" y="1760"/>
                          </a:lnTo>
                          <a:lnTo>
                            <a:pt x="1272" y="1741"/>
                          </a:lnTo>
                          <a:lnTo>
                            <a:pt x="1285" y="1740"/>
                          </a:lnTo>
                          <a:lnTo>
                            <a:pt x="1281" y="1734"/>
                          </a:lnTo>
                          <a:lnTo>
                            <a:pt x="1273" y="1732"/>
                          </a:lnTo>
                          <a:lnTo>
                            <a:pt x="1264" y="1717"/>
                          </a:lnTo>
                          <a:lnTo>
                            <a:pt x="1255" y="1704"/>
                          </a:lnTo>
                          <a:lnTo>
                            <a:pt x="1236" y="1677"/>
                          </a:lnTo>
                          <a:lnTo>
                            <a:pt x="1238" y="1661"/>
                          </a:lnTo>
                          <a:lnTo>
                            <a:pt x="1223" y="1638"/>
                          </a:lnTo>
                          <a:lnTo>
                            <a:pt x="1239" y="1614"/>
                          </a:lnTo>
                          <a:lnTo>
                            <a:pt x="1256" y="1609"/>
                          </a:lnTo>
                          <a:lnTo>
                            <a:pt x="1264" y="1595"/>
                          </a:lnTo>
                          <a:lnTo>
                            <a:pt x="1255" y="1591"/>
                          </a:lnTo>
                          <a:lnTo>
                            <a:pt x="1256" y="1578"/>
                          </a:lnTo>
                          <a:lnTo>
                            <a:pt x="1246" y="1560"/>
                          </a:lnTo>
                          <a:lnTo>
                            <a:pt x="1233" y="1561"/>
                          </a:lnTo>
                          <a:lnTo>
                            <a:pt x="1218" y="1545"/>
                          </a:lnTo>
                          <a:lnTo>
                            <a:pt x="1229" y="1525"/>
                          </a:lnTo>
                          <a:lnTo>
                            <a:pt x="1224" y="1518"/>
                          </a:lnTo>
                          <a:lnTo>
                            <a:pt x="1238" y="1489"/>
                          </a:lnTo>
                          <a:lnTo>
                            <a:pt x="1255" y="1505"/>
                          </a:lnTo>
                          <a:lnTo>
                            <a:pt x="1258" y="1486"/>
                          </a:lnTo>
                          <a:lnTo>
                            <a:pt x="1293" y="1455"/>
                          </a:lnTo>
                          <a:lnTo>
                            <a:pt x="1319" y="1455"/>
                          </a:lnTo>
                          <a:lnTo>
                            <a:pt x="1358" y="1474"/>
                          </a:lnTo>
                          <a:lnTo>
                            <a:pt x="1377" y="1485"/>
                          </a:lnTo>
                          <a:lnTo>
                            <a:pt x="1396" y="1474"/>
                          </a:lnTo>
                          <a:lnTo>
                            <a:pt x="1423" y="1472"/>
                          </a:lnTo>
                          <a:lnTo>
                            <a:pt x="1445" y="1488"/>
                          </a:lnTo>
                          <a:lnTo>
                            <a:pt x="1451" y="1478"/>
                          </a:lnTo>
                          <a:lnTo>
                            <a:pt x="1474" y="1480"/>
                          </a:lnTo>
                          <a:lnTo>
                            <a:pt x="1479" y="1468"/>
                          </a:lnTo>
                          <a:lnTo>
                            <a:pt x="1451" y="1448"/>
                          </a:lnTo>
                          <a:lnTo>
                            <a:pt x="1453" y="1446"/>
                          </a:lnTo>
                          <a:lnTo>
                            <a:pt x="1451" y="1446"/>
                          </a:lnTo>
                          <a:lnTo>
                            <a:pt x="1446" y="1434"/>
                          </a:lnTo>
                          <a:lnTo>
                            <a:pt x="1436" y="1429"/>
                          </a:lnTo>
                          <a:lnTo>
                            <a:pt x="1434" y="1414"/>
                          </a:lnTo>
                          <a:lnTo>
                            <a:pt x="1442" y="1400"/>
                          </a:lnTo>
                          <a:lnTo>
                            <a:pt x="1450" y="1391"/>
                          </a:lnTo>
                          <a:lnTo>
                            <a:pt x="1445" y="1380"/>
                          </a:lnTo>
                          <a:lnTo>
                            <a:pt x="1434" y="1374"/>
                          </a:lnTo>
                          <a:lnTo>
                            <a:pt x="1422" y="1382"/>
                          </a:lnTo>
                          <a:lnTo>
                            <a:pt x="1411" y="1391"/>
                          </a:lnTo>
                          <a:lnTo>
                            <a:pt x="1399" y="1375"/>
                          </a:lnTo>
                          <a:lnTo>
                            <a:pt x="1393" y="1365"/>
                          </a:lnTo>
                          <a:lnTo>
                            <a:pt x="1384" y="1349"/>
                          </a:lnTo>
                          <a:lnTo>
                            <a:pt x="1404" y="1348"/>
                          </a:lnTo>
                          <a:lnTo>
                            <a:pt x="1419" y="1343"/>
                          </a:lnTo>
                          <a:lnTo>
                            <a:pt x="1430" y="1328"/>
                          </a:lnTo>
                          <a:lnTo>
                            <a:pt x="1427" y="1314"/>
                          </a:lnTo>
                          <a:lnTo>
                            <a:pt x="1414" y="1303"/>
                          </a:lnTo>
                          <a:lnTo>
                            <a:pt x="1417" y="1288"/>
                          </a:lnTo>
                          <a:lnTo>
                            <a:pt x="1431" y="1271"/>
                          </a:lnTo>
                          <a:lnTo>
                            <a:pt x="1442" y="1249"/>
                          </a:lnTo>
                          <a:lnTo>
                            <a:pt x="1453" y="1219"/>
                          </a:lnTo>
                          <a:lnTo>
                            <a:pt x="1460" y="1165"/>
                          </a:lnTo>
                          <a:lnTo>
                            <a:pt x="1473" y="1042"/>
                          </a:lnTo>
                          <a:lnTo>
                            <a:pt x="1505" y="1017"/>
                          </a:lnTo>
                          <a:lnTo>
                            <a:pt x="1534" y="983"/>
                          </a:lnTo>
                          <a:lnTo>
                            <a:pt x="1558" y="963"/>
                          </a:lnTo>
                          <a:lnTo>
                            <a:pt x="1581" y="940"/>
                          </a:lnTo>
                          <a:lnTo>
                            <a:pt x="1594" y="916"/>
                          </a:lnTo>
                          <a:lnTo>
                            <a:pt x="1588" y="870"/>
                          </a:lnTo>
                          <a:lnTo>
                            <a:pt x="1535" y="825"/>
                          </a:lnTo>
                          <a:close/>
                          <a:moveTo>
                            <a:pt x="569" y="1726"/>
                          </a:moveTo>
                          <a:lnTo>
                            <a:pt x="560" y="1724"/>
                          </a:lnTo>
                          <a:lnTo>
                            <a:pt x="563" y="1737"/>
                          </a:lnTo>
                          <a:lnTo>
                            <a:pt x="565" y="1764"/>
                          </a:lnTo>
                          <a:lnTo>
                            <a:pt x="571" y="1771"/>
                          </a:lnTo>
                          <a:lnTo>
                            <a:pt x="577" y="1763"/>
                          </a:lnTo>
                          <a:lnTo>
                            <a:pt x="584" y="1764"/>
                          </a:lnTo>
                          <a:lnTo>
                            <a:pt x="588" y="1735"/>
                          </a:lnTo>
                          <a:lnTo>
                            <a:pt x="577" y="1718"/>
                          </a:lnTo>
                          <a:lnTo>
                            <a:pt x="569" y="1726"/>
                          </a:lnTo>
                          <a:close/>
                          <a:moveTo>
                            <a:pt x="578" y="1715"/>
                          </a:moveTo>
                          <a:lnTo>
                            <a:pt x="583" y="1697"/>
                          </a:lnTo>
                          <a:lnTo>
                            <a:pt x="580" y="1677"/>
                          </a:lnTo>
                          <a:lnTo>
                            <a:pt x="569" y="1686"/>
                          </a:lnTo>
                          <a:lnTo>
                            <a:pt x="566" y="1695"/>
                          </a:lnTo>
                          <a:lnTo>
                            <a:pt x="569" y="1711"/>
                          </a:lnTo>
                          <a:lnTo>
                            <a:pt x="578" y="1715"/>
                          </a:lnTo>
                          <a:close/>
                          <a:moveTo>
                            <a:pt x="627" y="1366"/>
                          </a:moveTo>
                          <a:lnTo>
                            <a:pt x="637" y="1342"/>
                          </a:lnTo>
                          <a:lnTo>
                            <a:pt x="632" y="1326"/>
                          </a:lnTo>
                          <a:lnTo>
                            <a:pt x="606" y="1337"/>
                          </a:lnTo>
                          <a:lnTo>
                            <a:pt x="609" y="1349"/>
                          </a:lnTo>
                          <a:lnTo>
                            <a:pt x="627" y="1366"/>
                          </a:lnTo>
                          <a:close/>
                        </a:path>
                      </a:pathLst>
                    </a:custGeom>
                    <a:solidFill>
                      <a:srgbClr val="1B9D91"/>
                    </a:solidFill>
                    <a:ln w="4763" cap="flat">
                      <a:solidFill>
                        <a:srgbClr val="FFFFFF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endParaRPr lang="en-GB" sz="1000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4" name="Oceania" descr="{&quot;Key&quot;:&quot;oceania&quot;,&quot;Name&quot;:&quot;Oceania&quot;,&quot;Value&quot;:1.0,&quot;Formula&quot;:&quot;&quot;,&quot;Text&quot;:&quot;&quot;,&quot;OfficeApplication&quot;:1,&quot;HasValue&quot;:true}">
                      <a:extLst>
                        <a:ext uri="{FF2B5EF4-FFF2-40B4-BE49-F238E27FC236}">
                          <a16:creationId xmlns:a16="http://schemas.microsoft.com/office/drawing/2014/main" id="{1221ADAA-B219-42BC-BB8A-15924F8D8337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789" y="2892"/>
                      <a:ext cx="1918" cy="945"/>
                    </a:xfrm>
                    <a:custGeom>
                      <a:avLst/>
                      <a:gdLst>
                        <a:gd name="T0" fmla="*/ 1695 w 1918"/>
                        <a:gd name="T1" fmla="*/ 230 h 945"/>
                        <a:gd name="T2" fmla="*/ 0 w 1918"/>
                        <a:gd name="T3" fmla="*/ 931 h 945"/>
                        <a:gd name="T4" fmla="*/ 1563 w 1918"/>
                        <a:gd name="T5" fmla="*/ 123 h 945"/>
                        <a:gd name="T6" fmla="*/ 1517 w 1918"/>
                        <a:gd name="T7" fmla="*/ 81 h 945"/>
                        <a:gd name="T8" fmla="*/ 1542 w 1918"/>
                        <a:gd name="T9" fmla="*/ 83 h 945"/>
                        <a:gd name="T10" fmla="*/ 1600 w 1918"/>
                        <a:gd name="T11" fmla="*/ 144 h 945"/>
                        <a:gd name="T12" fmla="*/ 1580 w 1918"/>
                        <a:gd name="T13" fmla="*/ 101 h 945"/>
                        <a:gd name="T14" fmla="*/ 1293 w 1918"/>
                        <a:gd name="T15" fmla="*/ 93 h 945"/>
                        <a:gd name="T16" fmla="*/ 1399 w 1918"/>
                        <a:gd name="T17" fmla="*/ 141 h 945"/>
                        <a:gd name="T18" fmla="*/ 1366 w 1918"/>
                        <a:gd name="T19" fmla="*/ 95 h 945"/>
                        <a:gd name="T20" fmla="*/ 1306 w 1918"/>
                        <a:gd name="T21" fmla="*/ 24 h 945"/>
                        <a:gd name="T22" fmla="*/ 1421 w 1918"/>
                        <a:gd name="T23" fmla="*/ 58 h 945"/>
                        <a:gd name="T24" fmla="*/ 1418 w 1918"/>
                        <a:gd name="T25" fmla="*/ 46 h 945"/>
                        <a:gd name="T26" fmla="*/ 1370 w 1918"/>
                        <a:gd name="T27" fmla="*/ 56 h 945"/>
                        <a:gd name="T28" fmla="*/ 1450 w 1918"/>
                        <a:gd name="T29" fmla="*/ 26 h 945"/>
                        <a:gd name="T30" fmla="*/ 1431 w 1918"/>
                        <a:gd name="T31" fmla="*/ 17 h 945"/>
                        <a:gd name="T32" fmla="*/ 1499 w 1918"/>
                        <a:gd name="T33" fmla="*/ 75 h 945"/>
                        <a:gd name="T34" fmla="*/ 1778 w 1918"/>
                        <a:gd name="T35" fmla="*/ 728 h 945"/>
                        <a:gd name="T36" fmla="*/ 1692 w 1918"/>
                        <a:gd name="T37" fmla="*/ 827 h 945"/>
                        <a:gd name="T38" fmla="*/ 1763 w 1918"/>
                        <a:gd name="T39" fmla="*/ 821 h 945"/>
                        <a:gd name="T40" fmla="*/ 1815 w 1918"/>
                        <a:gd name="T41" fmla="*/ 738 h 945"/>
                        <a:gd name="T42" fmla="*/ 1821 w 1918"/>
                        <a:gd name="T43" fmla="*/ 622 h 945"/>
                        <a:gd name="T44" fmla="*/ 1816 w 1918"/>
                        <a:gd name="T45" fmla="*/ 635 h 945"/>
                        <a:gd name="T46" fmla="*/ 1823 w 1918"/>
                        <a:gd name="T47" fmla="*/ 736 h 945"/>
                        <a:gd name="T48" fmla="*/ 1866 w 1918"/>
                        <a:gd name="T49" fmla="*/ 688 h 945"/>
                        <a:gd name="T50" fmla="*/ 1669 w 1918"/>
                        <a:gd name="T51" fmla="*/ 327 h 945"/>
                        <a:gd name="T52" fmla="*/ 1677 w 1918"/>
                        <a:gd name="T53" fmla="*/ 347 h 945"/>
                        <a:gd name="T54" fmla="*/ 1904 w 1918"/>
                        <a:gd name="T55" fmla="*/ 250 h 945"/>
                        <a:gd name="T56" fmla="*/ 1869 w 1918"/>
                        <a:gd name="T57" fmla="*/ 273 h 945"/>
                        <a:gd name="T58" fmla="*/ 1336 w 1918"/>
                        <a:gd name="T59" fmla="*/ 733 h 945"/>
                        <a:gd name="T60" fmla="*/ 1344 w 1918"/>
                        <a:gd name="T61" fmla="*/ 791 h 945"/>
                        <a:gd name="T62" fmla="*/ 1453 w 1918"/>
                        <a:gd name="T63" fmla="*/ 421 h 945"/>
                        <a:gd name="T64" fmla="*/ 1393 w 1918"/>
                        <a:gd name="T65" fmla="*/ 350 h 945"/>
                        <a:gd name="T66" fmla="*/ 1332 w 1918"/>
                        <a:gd name="T67" fmla="*/ 267 h 945"/>
                        <a:gd name="T68" fmla="*/ 1293 w 1918"/>
                        <a:gd name="T69" fmla="*/ 209 h 945"/>
                        <a:gd name="T70" fmla="*/ 1269 w 1918"/>
                        <a:gd name="T71" fmla="*/ 141 h 945"/>
                        <a:gd name="T72" fmla="*/ 1254 w 1918"/>
                        <a:gd name="T73" fmla="*/ 204 h 945"/>
                        <a:gd name="T74" fmla="*/ 1214 w 1918"/>
                        <a:gd name="T75" fmla="*/ 259 h 945"/>
                        <a:gd name="T76" fmla="*/ 1148 w 1918"/>
                        <a:gd name="T77" fmla="*/ 212 h 945"/>
                        <a:gd name="T78" fmla="*/ 1162 w 1918"/>
                        <a:gd name="T79" fmla="*/ 166 h 945"/>
                        <a:gd name="T80" fmla="*/ 1085 w 1918"/>
                        <a:gd name="T81" fmla="*/ 152 h 945"/>
                        <a:gd name="T82" fmla="*/ 1053 w 1918"/>
                        <a:gd name="T83" fmla="*/ 193 h 945"/>
                        <a:gd name="T84" fmla="*/ 988 w 1918"/>
                        <a:gd name="T85" fmla="*/ 201 h 945"/>
                        <a:gd name="T86" fmla="*/ 948 w 1918"/>
                        <a:gd name="T87" fmla="*/ 236 h 945"/>
                        <a:gd name="T88" fmla="*/ 910 w 1918"/>
                        <a:gd name="T89" fmla="*/ 284 h 945"/>
                        <a:gd name="T90" fmla="*/ 838 w 1918"/>
                        <a:gd name="T91" fmla="*/ 321 h 945"/>
                        <a:gd name="T92" fmla="*/ 775 w 1918"/>
                        <a:gd name="T93" fmla="*/ 353 h 945"/>
                        <a:gd name="T94" fmla="*/ 783 w 1918"/>
                        <a:gd name="T95" fmla="*/ 424 h 945"/>
                        <a:gd name="T96" fmla="*/ 790 w 1918"/>
                        <a:gd name="T97" fmla="*/ 467 h 945"/>
                        <a:gd name="T98" fmla="*/ 809 w 1918"/>
                        <a:gd name="T99" fmla="*/ 562 h 945"/>
                        <a:gd name="T100" fmla="*/ 856 w 1918"/>
                        <a:gd name="T101" fmla="*/ 593 h 945"/>
                        <a:gd name="T102" fmla="*/ 945 w 1918"/>
                        <a:gd name="T103" fmla="*/ 576 h 945"/>
                        <a:gd name="T104" fmla="*/ 1077 w 1918"/>
                        <a:gd name="T105" fmla="*/ 527 h 945"/>
                        <a:gd name="T106" fmla="*/ 1157 w 1918"/>
                        <a:gd name="T107" fmla="*/ 596 h 945"/>
                        <a:gd name="T108" fmla="*/ 1188 w 1918"/>
                        <a:gd name="T109" fmla="*/ 601 h 945"/>
                        <a:gd name="T110" fmla="*/ 1237 w 1918"/>
                        <a:gd name="T111" fmla="*/ 662 h 945"/>
                        <a:gd name="T112" fmla="*/ 1321 w 1918"/>
                        <a:gd name="T113" fmla="*/ 676 h 945"/>
                        <a:gd name="T114" fmla="*/ 1399 w 1918"/>
                        <a:gd name="T115" fmla="*/ 628 h 945"/>
                        <a:gd name="T116" fmla="*/ 1451 w 1918"/>
                        <a:gd name="T117" fmla="*/ 515 h 9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1918" h="945">
                          <a:moveTo>
                            <a:pt x="1694" y="233"/>
                          </a:moveTo>
                          <a:lnTo>
                            <a:pt x="1705" y="244"/>
                          </a:lnTo>
                          <a:lnTo>
                            <a:pt x="1700" y="246"/>
                          </a:lnTo>
                          <a:lnTo>
                            <a:pt x="1694" y="238"/>
                          </a:lnTo>
                          <a:lnTo>
                            <a:pt x="1694" y="233"/>
                          </a:lnTo>
                          <a:close/>
                          <a:moveTo>
                            <a:pt x="1688" y="229"/>
                          </a:moveTo>
                          <a:lnTo>
                            <a:pt x="1691" y="229"/>
                          </a:lnTo>
                          <a:lnTo>
                            <a:pt x="1695" y="230"/>
                          </a:lnTo>
                          <a:lnTo>
                            <a:pt x="1692" y="216"/>
                          </a:lnTo>
                          <a:lnTo>
                            <a:pt x="1685" y="210"/>
                          </a:lnTo>
                          <a:lnTo>
                            <a:pt x="1685" y="224"/>
                          </a:lnTo>
                          <a:lnTo>
                            <a:pt x="1688" y="229"/>
                          </a:lnTo>
                          <a:close/>
                          <a:moveTo>
                            <a:pt x="14" y="922"/>
                          </a:moveTo>
                          <a:lnTo>
                            <a:pt x="3" y="914"/>
                          </a:lnTo>
                          <a:lnTo>
                            <a:pt x="2" y="920"/>
                          </a:lnTo>
                          <a:lnTo>
                            <a:pt x="0" y="931"/>
                          </a:lnTo>
                          <a:lnTo>
                            <a:pt x="0" y="945"/>
                          </a:lnTo>
                          <a:lnTo>
                            <a:pt x="26" y="943"/>
                          </a:lnTo>
                          <a:lnTo>
                            <a:pt x="31" y="931"/>
                          </a:lnTo>
                          <a:lnTo>
                            <a:pt x="31" y="927"/>
                          </a:lnTo>
                          <a:lnTo>
                            <a:pt x="14" y="922"/>
                          </a:lnTo>
                          <a:close/>
                          <a:moveTo>
                            <a:pt x="1577" y="120"/>
                          </a:moveTo>
                          <a:lnTo>
                            <a:pt x="1565" y="116"/>
                          </a:lnTo>
                          <a:lnTo>
                            <a:pt x="1563" y="123"/>
                          </a:lnTo>
                          <a:lnTo>
                            <a:pt x="1568" y="126"/>
                          </a:lnTo>
                          <a:lnTo>
                            <a:pt x="1579" y="127"/>
                          </a:lnTo>
                          <a:lnTo>
                            <a:pt x="1585" y="127"/>
                          </a:lnTo>
                          <a:lnTo>
                            <a:pt x="1582" y="123"/>
                          </a:lnTo>
                          <a:lnTo>
                            <a:pt x="1577" y="120"/>
                          </a:lnTo>
                          <a:close/>
                          <a:moveTo>
                            <a:pt x="1511" y="70"/>
                          </a:moveTo>
                          <a:lnTo>
                            <a:pt x="1510" y="73"/>
                          </a:lnTo>
                          <a:lnTo>
                            <a:pt x="1517" y="81"/>
                          </a:lnTo>
                          <a:lnTo>
                            <a:pt x="1525" y="84"/>
                          </a:lnTo>
                          <a:lnTo>
                            <a:pt x="1528" y="84"/>
                          </a:lnTo>
                          <a:lnTo>
                            <a:pt x="1520" y="78"/>
                          </a:lnTo>
                          <a:lnTo>
                            <a:pt x="1511" y="70"/>
                          </a:lnTo>
                          <a:close/>
                          <a:moveTo>
                            <a:pt x="1568" y="101"/>
                          </a:moveTo>
                          <a:lnTo>
                            <a:pt x="1563" y="95"/>
                          </a:lnTo>
                          <a:lnTo>
                            <a:pt x="1550" y="87"/>
                          </a:lnTo>
                          <a:lnTo>
                            <a:pt x="1542" y="83"/>
                          </a:lnTo>
                          <a:lnTo>
                            <a:pt x="1539" y="86"/>
                          </a:lnTo>
                          <a:lnTo>
                            <a:pt x="1547" y="90"/>
                          </a:lnTo>
                          <a:lnTo>
                            <a:pt x="1556" y="96"/>
                          </a:lnTo>
                          <a:lnTo>
                            <a:pt x="1570" y="104"/>
                          </a:lnTo>
                          <a:lnTo>
                            <a:pt x="1568" y="101"/>
                          </a:lnTo>
                          <a:close/>
                          <a:moveTo>
                            <a:pt x="1603" y="138"/>
                          </a:moveTo>
                          <a:lnTo>
                            <a:pt x="1593" y="133"/>
                          </a:lnTo>
                          <a:lnTo>
                            <a:pt x="1600" y="144"/>
                          </a:lnTo>
                          <a:lnTo>
                            <a:pt x="1611" y="144"/>
                          </a:lnTo>
                          <a:lnTo>
                            <a:pt x="1606" y="138"/>
                          </a:lnTo>
                          <a:lnTo>
                            <a:pt x="1603" y="138"/>
                          </a:lnTo>
                          <a:close/>
                          <a:moveTo>
                            <a:pt x="1597" y="126"/>
                          </a:moveTo>
                          <a:lnTo>
                            <a:pt x="1599" y="123"/>
                          </a:lnTo>
                          <a:lnTo>
                            <a:pt x="1593" y="115"/>
                          </a:lnTo>
                          <a:lnTo>
                            <a:pt x="1586" y="101"/>
                          </a:lnTo>
                          <a:lnTo>
                            <a:pt x="1580" y="101"/>
                          </a:lnTo>
                          <a:lnTo>
                            <a:pt x="1583" y="110"/>
                          </a:lnTo>
                          <a:lnTo>
                            <a:pt x="1597" y="126"/>
                          </a:lnTo>
                          <a:close/>
                          <a:moveTo>
                            <a:pt x="1244" y="115"/>
                          </a:moveTo>
                          <a:lnTo>
                            <a:pt x="1261" y="115"/>
                          </a:lnTo>
                          <a:lnTo>
                            <a:pt x="1272" y="118"/>
                          </a:lnTo>
                          <a:lnTo>
                            <a:pt x="1284" y="112"/>
                          </a:lnTo>
                          <a:lnTo>
                            <a:pt x="1283" y="100"/>
                          </a:lnTo>
                          <a:lnTo>
                            <a:pt x="1293" y="93"/>
                          </a:lnTo>
                          <a:lnTo>
                            <a:pt x="1307" y="89"/>
                          </a:lnTo>
                          <a:lnTo>
                            <a:pt x="1330" y="96"/>
                          </a:lnTo>
                          <a:lnTo>
                            <a:pt x="1339" y="112"/>
                          </a:lnTo>
                          <a:lnTo>
                            <a:pt x="1349" y="121"/>
                          </a:lnTo>
                          <a:lnTo>
                            <a:pt x="1362" y="132"/>
                          </a:lnTo>
                          <a:lnTo>
                            <a:pt x="1379" y="135"/>
                          </a:lnTo>
                          <a:lnTo>
                            <a:pt x="1395" y="136"/>
                          </a:lnTo>
                          <a:lnTo>
                            <a:pt x="1399" y="141"/>
                          </a:lnTo>
                          <a:lnTo>
                            <a:pt x="1410" y="140"/>
                          </a:lnTo>
                          <a:lnTo>
                            <a:pt x="1412" y="135"/>
                          </a:lnTo>
                          <a:lnTo>
                            <a:pt x="1393" y="127"/>
                          </a:lnTo>
                          <a:lnTo>
                            <a:pt x="1399" y="124"/>
                          </a:lnTo>
                          <a:lnTo>
                            <a:pt x="1385" y="121"/>
                          </a:lnTo>
                          <a:lnTo>
                            <a:pt x="1387" y="113"/>
                          </a:lnTo>
                          <a:lnTo>
                            <a:pt x="1376" y="113"/>
                          </a:lnTo>
                          <a:lnTo>
                            <a:pt x="1366" y="95"/>
                          </a:lnTo>
                          <a:lnTo>
                            <a:pt x="1350" y="84"/>
                          </a:lnTo>
                          <a:lnTo>
                            <a:pt x="1346" y="73"/>
                          </a:lnTo>
                          <a:lnTo>
                            <a:pt x="1362" y="70"/>
                          </a:lnTo>
                          <a:lnTo>
                            <a:pt x="1358" y="61"/>
                          </a:lnTo>
                          <a:lnTo>
                            <a:pt x="1329" y="50"/>
                          </a:lnTo>
                          <a:lnTo>
                            <a:pt x="1327" y="41"/>
                          </a:lnTo>
                          <a:lnTo>
                            <a:pt x="1316" y="32"/>
                          </a:lnTo>
                          <a:lnTo>
                            <a:pt x="1306" y="24"/>
                          </a:lnTo>
                          <a:lnTo>
                            <a:pt x="1274" y="13"/>
                          </a:lnTo>
                          <a:lnTo>
                            <a:pt x="1243" y="1"/>
                          </a:lnTo>
                          <a:lnTo>
                            <a:pt x="1244" y="58"/>
                          </a:lnTo>
                          <a:lnTo>
                            <a:pt x="1244" y="115"/>
                          </a:lnTo>
                          <a:close/>
                          <a:moveTo>
                            <a:pt x="1393" y="66"/>
                          </a:moveTo>
                          <a:lnTo>
                            <a:pt x="1402" y="66"/>
                          </a:lnTo>
                          <a:lnTo>
                            <a:pt x="1412" y="61"/>
                          </a:lnTo>
                          <a:lnTo>
                            <a:pt x="1421" y="58"/>
                          </a:lnTo>
                          <a:lnTo>
                            <a:pt x="1424" y="53"/>
                          </a:lnTo>
                          <a:lnTo>
                            <a:pt x="1433" y="52"/>
                          </a:lnTo>
                          <a:lnTo>
                            <a:pt x="1438" y="41"/>
                          </a:lnTo>
                          <a:lnTo>
                            <a:pt x="1439" y="32"/>
                          </a:lnTo>
                          <a:lnTo>
                            <a:pt x="1435" y="29"/>
                          </a:lnTo>
                          <a:lnTo>
                            <a:pt x="1425" y="29"/>
                          </a:lnTo>
                          <a:lnTo>
                            <a:pt x="1427" y="40"/>
                          </a:lnTo>
                          <a:lnTo>
                            <a:pt x="1418" y="46"/>
                          </a:lnTo>
                          <a:lnTo>
                            <a:pt x="1412" y="50"/>
                          </a:lnTo>
                          <a:lnTo>
                            <a:pt x="1402" y="52"/>
                          </a:lnTo>
                          <a:lnTo>
                            <a:pt x="1401" y="43"/>
                          </a:lnTo>
                          <a:lnTo>
                            <a:pt x="1398" y="44"/>
                          </a:lnTo>
                          <a:lnTo>
                            <a:pt x="1396" y="52"/>
                          </a:lnTo>
                          <a:lnTo>
                            <a:pt x="1385" y="53"/>
                          </a:lnTo>
                          <a:lnTo>
                            <a:pt x="1370" y="50"/>
                          </a:lnTo>
                          <a:lnTo>
                            <a:pt x="1370" y="56"/>
                          </a:lnTo>
                          <a:lnTo>
                            <a:pt x="1379" y="61"/>
                          </a:lnTo>
                          <a:lnTo>
                            <a:pt x="1393" y="66"/>
                          </a:lnTo>
                          <a:close/>
                          <a:moveTo>
                            <a:pt x="1431" y="17"/>
                          </a:moveTo>
                          <a:lnTo>
                            <a:pt x="1439" y="23"/>
                          </a:lnTo>
                          <a:lnTo>
                            <a:pt x="1444" y="29"/>
                          </a:lnTo>
                          <a:lnTo>
                            <a:pt x="1447" y="40"/>
                          </a:lnTo>
                          <a:lnTo>
                            <a:pt x="1453" y="35"/>
                          </a:lnTo>
                          <a:lnTo>
                            <a:pt x="1450" y="26"/>
                          </a:lnTo>
                          <a:lnTo>
                            <a:pt x="1444" y="20"/>
                          </a:lnTo>
                          <a:lnTo>
                            <a:pt x="1436" y="13"/>
                          </a:lnTo>
                          <a:lnTo>
                            <a:pt x="1430" y="9"/>
                          </a:lnTo>
                          <a:lnTo>
                            <a:pt x="1424" y="6"/>
                          </a:lnTo>
                          <a:lnTo>
                            <a:pt x="1415" y="0"/>
                          </a:lnTo>
                          <a:lnTo>
                            <a:pt x="1410" y="4"/>
                          </a:lnTo>
                          <a:lnTo>
                            <a:pt x="1422" y="9"/>
                          </a:lnTo>
                          <a:lnTo>
                            <a:pt x="1431" y="17"/>
                          </a:lnTo>
                          <a:close/>
                          <a:moveTo>
                            <a:pt x="1485" y="53"/>
                          </a:moveTo>
                          <a:lnTo>
                            <a:pt x="1481" y="49"/>
                          </a:lnTo>
                          <a:lnTo>
                            <a:pt x="1479" y="44"/>
                          </a:lnTo>
                          <a:lnTo>
                            <a:pt x="1476" y="46"/>
                          </a:lnTo>
                          <a:lnTo>
                            <a:pt x="1479" y="58"/>
                          </a:lnTo>
                          <a:lnTo>
                            <a:pt x="1487" y="70"/>
                          </a:lnTo>
                          <a:lnTo>
                            <a:pt x="1494" y="76"/>
                          </a:lnTo>
                          <a:lnTo>
                            <a:pt x="1499" y="75"/>
                          </a:lnTo>
                          <a:lnTo>
                            <a:pt x="1502" y="70"/>
                          </a:lnTo>
                          <a:lnTo>
                            <a:pt x="1494" y="64"/>
                          </a:lnTo>
                          <a:lnTo>
                            <a:pt x="1485" y="53"/>
                          </a:lnTo>
                          <a:close/>
                          <a:moveTo>
                            <a:pt x="1810" y="728"/>
                          </a:moveTo>
                          <a:lnTo>
                            <a:pt x="1798" y="738"/>
                          </a:lnTo>
                          <a:lnTo>
                            <a:pt x="1795" y="728"/>
                          </a:lnTo>
                          <a:lnTo>
                            <a:pt x="1790" y="718"/>
                          </a:lnTo>
                          <a:lnTo>
                            <a:pt x="1778" y="728"/>
                          </a:lnTo>
                          <a:lnTo>
                            <a:pt x="1775" y="741"/>
                          </a:lnTo>
                          <a:lnTo>
                            <a:pt x="1769" y="747"/>
                          </a:lnTo>
                          <a:lnTo>
                            <a:pt x="1761" y="764"/>
                          </a:lnTo>
                          <a:lnTo>
                            <a:pt x="1752" y="776"/>
                          </a:lnTo>
                          <a:lnTo>
                            <a:pt x="1737" y="788"/>
                          </a:lnTo>
                          <a:lnTo>
                            <a:pt x="1724" y="797"/>
                          </a:lnTo>
                          <a:lnTo>
                            <a:pt x="1714" y="802"/>
                          </a:lnTo>
                          <a:lnTo>
                            <a:pt x="1692" y="827"/>
                          </a:lnTo>
                          <a:lnTo>
                            <a:pt x="1682" y="844"/>
                          </a:lnTo>
                          <a:lnTo>
                            <a:pt x="1685" y="853"/>
                          </a:lnTo>
                          <a:lnTo>
                            <a:pt x="1705" y="854"/>
                          </a:lnTo>
                          <a:lnTo>
                            <a:pt x="1715" y="864"/>
                          </a:lnTo>
                          <a:lnTo>
                            <a:pt x="1731" y="864"/>
                          </a:lnTo>
                          <a:lnTo>
                            <a:pt x="1740" y="857"/>
                          </a:lnTo>
                          <a:lnTo>
                            <a:pt x="1754" y="845"/>
                          </a:lnTo>
                          <a:lnTo>
                            <a:pt x="1763" y="821"/>
                          </a:lnTo>
                          <a:lnTo>
                            <a:pt x="1767" y="805"/>
                          </a:lnTo>
                          <a:lnTo>
                            <a:pt x="1783" y="796"/>
                          </a:lnTo>
                          <a:lnTo>
                            <a:pt x="1795" y="796"/>
                          </a:lnTo>
                          <a:lnTo>
                            <a:pt x="1789" y="784"/>
                          </a:lnTo>
                          <a:lnTo>
                            <a:pt x="1798" y="774"/>
                          </a:lnTo>
                          <a:lnTo>
                            <a:pt x="1809" y="757"/>
                          </a:lnTo>
                          <a:lnTo>
                            <a:pt x="1815" y="747"/>
                          </a:lnTo>
                          <a:lnTo>
                            <a:pt x="1815" y="738"/>
                          </a:lnTo>
                          <a:lnTo>
                            <a:pt x="1810" y="728"/>
                          </a:lnTo>
                          <a:close/>
                          <a:moveTo>
                            <a:pt x="1870" y="662"/>
                          </a:moveTo>
                          <a:lnTo>
                            <a:pt x="1859" y="661"/>
                          </a:lnTo>
                          <a:lnTo>
                            <a:pt x="1844" y="653"/>
                          </a:lnTo>
                          <a:lnTo>
                            <a:pt x="1843" y="636"/>
                          </a:lnTo>
                          <a:lnTo>
                            <a:pt x="1835" y="631"/>
                          </a:lnTo>
                          <a:lnTo>
                            <a:pt x="1833" y="645"/>
                          </a:lnTo>
                          <a:lnTo>
                            <a:pt x="1821" y="622"/>
                          </a:lnTo>
                          <a:lnTo>
                            <a:pt x="1816" y="604"/>
                          </a:lnTo>
                          <a:lnTo>
                            <a:pt x="1803" y="599"/>
                          </a:lnTo>
                          <a:lnTo>
                            <a:pt x="1793" y="587"/>
                          </a:lnTo>
                          <a:lnTo>
                            <a:pt x="1787" y="588"/>
                          </a:lnTo>
                          <a:lnTo>
                            <a:pt x="1795" y="604"/>
                          </a:lnTo>
                          <a:lnTo>
                            <a:pt x="1809" y="622"/>
                          </a:lnTo>
                          <a:lnTo>
                            <a:pt x="1816" y="631"/>
                          </a:lnTo>
                          <a:lnTo>
                            <a:pt x="1816" y="635"/>
                          </a:lnTo>
                          <a:lnTo>
                            <a:pt x="1823" y="648"/>
                          </a:lnTo>
                          <a:lnTo>
                            <a:pt x="1824" y="664"/>
                          </a:lnTo>
                          <a:lnTo>
                            <a:pt x="1821" y="681"/>
                          </a:lnTo>
                          <a:lnTo>
                            <a:pt x="1809" y="688"/>
                          </a:lnTo>
                          <a:lnTo>
                            <a:pt x="1809" y="696"/>
                          </a:lnTo>
                          <a:lnTo>
                            <a:pt x="1827" y="705"/>
                          </a:lnTo>
                          <a:lnTo>
                            <a:pt x="1832" y="718"/>
                          </a:lnTo>
                          <a:lnTo>
                            <a:pt x="1823" y="736"/>
                          </a:lnTo>
                          <a:lnTo>
                            <a:pt x="1829" y="739"/>
                          </a:lnTo>
                          <a:lnTo>
                            <a:pt x="1832" y="745"/>
                          </a:lnTo>
                          <a:lnTo>
                            <a:pt x="1846" y="736"/>
                          </a:lnTo>
                          <a:lnTo>
                            <a:pt x="1855" y="721"/>
                          </a:lnTo>
                          <a:lnTo>
                            <a:pt x="1861" y="708"/>
                          </a:lnTo>
                          <a:lnTo>
                            <a:pt x="1864" y="704"/>
                          </a:lnTo>
                          <a:lnTo>
                            <a:pt x="1861" y="694"/>
                          </a:lnTo>
                          <a:lnTo>
                            <a:pt x="1866" y="688"/>
                          </a:lnTo>
                          <a:lnTo>
                            <a:pt x="1879" y="688"/>
                          </a:lnTo>
                          <a:lnTo>
                            <a:pt x="1884" y="674"/>
                          </a:lnTo>
                          <a:lnTo>
                            <a:pt x="1889" y="656"/>
                          </a:lnTo>
                          <a:lnTo>
                            <a:pt x="1879" y="653"/>
                          </a:lnTo>
                          <a:lnTo>
                            <a:pt x="1870" y="662"/>
                          </a:lnTo>
                          <a:close/>
                          <a:moveTo>
                            <a:pt x="1692" y="347"/>
                          </a:moveTo>
                          <a:lnTo>
                            <a:pt x="1683" y="338"/>
                          </a:lnTo>
                          <a:lnTo>
                            <a:pt x="1669" y="327"/>
                          </a:lnTo>
                          <a:lnTo>
                            <a:pt x="1665" y="322"/>
                          </a:lnTo>
                          <a:lnTo>
                            <a:pt x="1657" y="316"/>
                          </a:lnTo>
                          <a:lnTo>
                            <a:pt x="1646" y="309"/>
                          </a:lnTo>
                          <a:lnTo>
                            <a:pt x="1640" y="309"/>
                          </a:lnTo>
                          <a:lnTo>
                            <a:pt x="1642" y="315"/>
                          </a:lnTo>
                          <a:lnTo>
                            <a:pt x="1654" y="329"/>
                          </a:lnTo>
                          <a:lnTo>
                            <a:pt x="1665" y="338"/>
                          </a:lnTo>
                          <a:lnTo>
                            <a:pt x="1677" y="347"/>
                          </a:lnTo>
                          <a:lnTo>
                            <a:pt x="1686" y="352"/>
                          </a:lnTo>
                          <a:lnTo>
                            <a:pt x="1692" y="347"/>
                          </a:lnTo>
                          <a:close/>
                          <a:moveTo>
                            <a:pt x="1915" y="236"/>
                          </a:moveTo>
                          <a:lnTo>
                            <a:pt x="1904" y="243"/>
                          </a:lnTo>
                          <a:lnTo>
                            <a:pt x="1899" y="243"/>
                          </a:lnTo>
                          <a:lnTo>
                            <a:pt x="1890" y="247"/>
                          </a:lnTo>
                          <a:lnTo>
                            <a:pt x="1893" y="253"/>
                          </a:lnTo>
                          <a:lnTo>
                            <a:pt x="1904" y="250"/>
                          </a:lnTo>
                          <a:lnTo>
                            <a:pt x="1915" y="246"/>
                          </a:lnTo>
                          <a:lnTo>
                            <a:pt x="1916" y="244"/>
                          </a:lnTo>
                          <a:lnTo>
                            <a:pt x="1918" y="235"/>
                          </a:lnTo>
                          <a:lnTo>
                            <a:pt x="1915" y="236"/>
                          </a:lnTo>
                          <a:close/>
                          <a:moveTo>
                            <a:pt x="1882" y="262"/>
                          </a:moveTo>
                          <a:lnTo>
                            <a:pt x="1875" y="259"/>
                          </a:lnTo>
                          <a:lnTo>
                            <a:pt x="1867" y="266"/>
                          </a:lnTo>
                          <a:lnTo>
                            <a:pt x="1869" y="273"/>
                          </a:lnTo>
                          <a:lnTo>
                            <a:pt x="1879" y="276"/>
                          </a:lnTo>
                          <a:lnTo>
                            <a:pt x="1890" y="273"/>
                          </a:lnTo>
                          <a:lnTo>
                            <a:pt x="1892" y="264"/>
                          </a:lnTo>
                          <a:lnTo>
                            <a:pt x="1887" y="259"/>
                          </a:lnTo>
                          <a:lnTo>
                            <a:pt x="1882" y="262"/>
                          </a:lnTo>
                          <a:close/>
                          <a:moveTo>
                            <a:pt x="1358" y="725"/>
                          </a:moveTo>
                          <a:lnTo>
                            <a:pt x="1346" y="730"/>
                          </a:lnTo>
                          <a:lnTo>
                            <a:pt x="1336" y="733"/>
                          </a:lnTo>
                          <a:lnTo>
                            <a:pt x="1320" y="725"/>
                          </a:lnTo>
                          <a:lnTo>
                            <a:pt x="1307" y="722"/>
                          </a:lnTo>
                          <a:lnTo>
                            <a:pt x="1307" y="733"/>
                          </a:lnTo>
                          <a:lnTo>
                            <a:pt x="1318" y="753"/>
                          </a:lnTo>
                          <a:lnTo>
                            <a:pt x="1320" y="768"/>
                          </a:lnTo>
                          <a:lnTo>
                            <a:pt x="1330" y="788"/>
                          </a:lnTo>
                          <a:lnTo>
                            <a:pt x="1341" y="790"/>
                          </a:lnTo>
                          <a:lnTo>
                            <a:pt x="1344" y="791"/>
                          </a:lnTo>
                          <a:lnTo>
                            <a:pt x="1356" y="774"/>
                          </a:lnTo>
                          <a:lnTo>
                            <a:pt x="1362" y="781"/>
                          </a:lnTo>
                          <a:lnTo>
                            <a:pt x="1364" y="762"/>
                          </a:lnTo>
                          <a:lnTo>
                            <a:pt x="1370" y="754"/>
                          </a:lnTo>
                          <a:lnTo>
                            <a:pt x="1369" y="727"/>
                          </a:lnTo>
                          <a:lnTo>
                            <a:pt x="1358" y="725"/>
                          </a:lnTo>
                          <a:close/>
                          <a:moveTo>
                            <a:pt x="1453" y="432"/>
                          </a:moveTo>
                          <a:lnTo>
                            <a:pt x="1453" y="421"/>
                          </a:lnTo>
                          <a:lnTo>
                            <a:pt x="1447" y="405"/>
                          </a:lnTo>
                          <a:lnTo>
                            <a:pt x="1435" y="390"/>
                          </a:lnTo>
                          <a:lnTo>
                            <a:pt x="1425" y="382"/>
                          </a:lnTo>
                          <a:lnTo>
                            <a:pt x="1413" y="372"/>
                          </a:lnTo>
                          <a:lnTo>
                            <a:pt x="1412" y="352"/>
                          </a:lnTo>
                          <a:lnTo>
                            <a:pt x="1407" y="355"/>
                          </a:lnTo>
                          <a:lnTo>
                            <a:pt x="1399" y="346"/>
                          </a:lnTo>
                          <a:lnTo>
                            <a:pt x="1393" y="350"/>
                          </a:lnTo>
                          <a:lnTo>
                            <a:pt x="1385" y="330"/>
                          </a:lnTo>
                          <a:lnTo>
                            <a:pt x="1376" y="319"/>
                          </a:lnTo>
                          <a:lnTo>
                            <a:pt x="1378" y="315"/>
                          </a:lnTo>
                          <a:lnTo>
                            <a:pt x="1367" y="307"/>
                          </a:lnTo>
                          <a:lnTo>
                            <a:pt x="1355" y="298"/>
                          </a:lnTo>
                          <a:lnTo>
                            <a:pt x="1336" y="289"/>
                          </a:lnTo>
                          <a:lnTo>
                            <a:pt x="1330" y="276"/>
                          </a:lnTo>
                          <a:lnTo>
                            <a:pt x="1332" y="267"/>
                          </a:lnTo>
                          <a:lnTo>
                            <a:pt x="1327" y="252"/>
                          </a:lnTo>
                          <a:lnTo>
                            <a:pt x="1323" y="249"/>
                          </a:lnTo>
                          <a:lnTo>
                            <a:pt x="1321" y="239"/>
                          </a:lnTo>
                          <a:lnTo>
                            <a:pt x="1316" y="226"/>
                          </a:lnTo>
                          <a:lnTo>
                            <a:pt x="1318" y="216"/>
                          </a:lnTo>
                          <a:lnTo>
                            <a:pt x="1310" y="210"/>
                          </a:lnTo>
                          <a:lnTo>
                            <a:pt x="1304" y="203"/>
                          </a:lnTo>
                          <a:lnTo>
                            <a:pt x="1293" y="209"/>
                          </a:lnTo>
                          <a:lnTo>
                            <a:pt x="1287" y="195"/>
                          </a:lnTo>
                          <a:lnTo>
                            <a:pt x="1287" y="189"/>
                          </a:lnTo>
                          <a:lnTo>
                            <a:pt x="1287" y="179"/>
                          </a:lnTo>
                          <a:lnTo>
                            <a:pt x="1281" y="170"/>
                          </a:lnTo>
                          <a:lnTo>
                            <a:pt x="1280" y="163"/>
                          </a:lnTo>
                          <a:lnTo>
                            <a:pt x="1275" y="161"/>
                          </a:lnTo>
                          <a:lnTo>
                            <a:pt x="1275" y="150"/>
                          </a:lnTo>
                          <a:lnTo>
                            <a:pt x="1269" y="141"/>
                          </a:lnTo>
                          <a:lnTo>
                            <a:pt x="1263" y="147"/>
                          </a:lnTo>
                          <a:lnTo>
                            <a:pt x="1263" y="153"/>
                          </a:lnTo>
                          <a:lnTo>
                            <a:pt x="1260" y="163"/>
                          </a:lnTo>
                          <a:lnTo>
                            <a:pt x="1255" y="172"/>
                          </a:lnTo>
                          <a:lnTo>
                            <a:pt x="1258" y="178"/>
                          </a:lnTo>
                          <a:lnTo>
                            <a:pt x="1255" y="181"/>
                          </a:lnTo>
                          <a:lnTo>
                            <a:pt x="1252" y="195"/>
                          </a:lnTo>
                          <a:lnTo>
                            <a:pt x="1254" y="204"/>
                          </a:lnTo>
                          <a:lnTo>
                            <a:pt x="1254" y="210"/>
                          </a:lnTo>
                          <a:lnTo>
                            <a:pt x="1255" y="218"/>
                          </a:lnTo>
                          <a:lnTo>
                            <a:pt x="1250" y="232"/>
                          </a:lnTo>
                          <a:lnTo>
                            <a:pt x="1247" y="243"/>
                          </a:lnTo>
                          <a:lnTo>
                            <a:pt x="1244" y="250"/>
                          </a:lnTo>
                          <a:lnTo>
                            <a:pt x="1241" y="259"/>
                          </a:lnTo>
                          <a:lnTo>
                            <a:pt x="1231" y="266"/>
                          </a:lnTo>
                          <a:lnTo>
                            <a:pt x="1214" y="259"/>
                          </a:lnTo>
                          <a:lnTo>
                            <a:pt x="1211" y="255"/>
                          </a:lnTo>
                          <a:lnTo>
                            <a:pt x="1201" y="250"/>
                          </a:lnTo>
                          <a:lnTo>
                            <a:pt x="1197" y="250"/>
                          </a:lnTo>
                          <a:lnTo>
                            <a:pt x="1185" y="239"/>
                          </a:lnTo>
                          <a:lnTo>
                            <a:pt x="1175" y="233"/>
                          </a:lnTo>
                          <a:lnTo>
                            <a:pt x="1163" y="227"/>
                          </a:lnTo>
                          <a:lnTo>
                            <a:pt x="1149" y="218"/>
                          </a:lnTo>
                          <a:lnTo>
                            <a:pt x="1148" y="212"/>
                          </a:lnTo>
                          <a:lnTo>
                            <a:pt x="1154" y="204"/>
                          </a:lnTo>
                          <a:lnTo>
                            <a:pt x="1158" y="195"/>
                          </a:lnTo>
                          <a:lnTo>
                            <a:pt x="1157" y="187"/>
                          </a:lnTo>
                          <a:lnTo>
                            <a:pt x="1163" y="187"/>
                          </a:lnTo>
                          <a:lnTo>
                            <a:pt x="1169" y="179"/>
                          </a:lnTo>
                          <a:lnTo>
                            <a:pt x="1174" y="170"/>
                          </a:lnTo>
                          <a:lnTo>
                            <a:pt x="1166" y="163"/>
                          </a:lnTo>
                          <a:lnTo>
                            <a:pt x="1162" y="166"/>
                          </a:lnTo>
                          <a:lnTo>
                            <a:pt x="1155" y="164"/>
                          </a:lnTo>
                          <a:lnTo>
                            <a:pt x="1145" y="169"/>
                          </a:lnTo>
                          <a:lnTo>
                            <a:pt x="1134" y="163"/>
                          </a:lnTo>
                          <a:lnTo>
                            <a:pt x="1129" y="166"/>
                          </a:lnTo>
                          <a:lnTo>
                            <a:pt x="1116" y="161"/>
                          </a:lnTo>
                          <a:lnTo>
                            <a:pt x="1106" y="153"/>
                          </a:lnTo>
                          <a:lnTo>
                            <a:pt x="1094" y="149"/>
                          </a:lnTo>
                          <a:lnTo>
                            <a:pt x="1085" y="152"/>
                          </a:lnTo>
                          <a:lnTo>
                            <a:pt x="1099" y="158"/>
                          </a:lnTo>
                          <a:lnTo>
                            <a:pt x="1099" y="166"/>
                          </a:lnTo>
                          <a:lnTo>
                            <a:pt x="1083" y="170"/>
                          </a:lnTo>
                          <a:lnTo>
                            <a:pt x="1076" y="167"/>
                          </a:lnTo>
                          <a:lnTo>
                            <a:pt x="1065" y="173"/>
                          </a:lnTo>
                          <a:lnTo>
                            <a:pt x="1057" y="184"/>
                          </a:lnTo>
                          <a:lnTo>
                            <a:pt x="1060" y="189"/>
                          </a:lnTo>
                          <a:lnTo>
                            <a:pt x="1053" y="193"/>
                          </a:lnTo>
                          <a:lnTo>
                            <a:pt x="1043" y="207"/>
                          </a:lnTo>
                          <a:lnTo>
                            <a:pt x="1048" y="216"/>
                          </a:lnTo>
                          <a:lnTo>
                            <a:pt x="1037" y="215"/>
                          </a:lnTo>
                          <a:lnTo>
                            <a:pt x="1027" y="215"/>
                          </a:lnTo>
                          <a:lnTo>
                            <a:pt x="1016" y="204"/>
                          </a:lnTo>
                          <a:lnTo>
                            <a:pt x="1004" y="196"/>
                          </a:lnTo>
                          <a:lnTo>
                            <a:pt x="996" y="198"/>
                          </a:lnTo>
                          <a:lnTo>
                            <a:pt x="988" y="201"/>
                          </a:lnTo>
                          <a:lnTo>
                            <a:pt x="987" y="206"/>
                          </a:lnTo>
                          <a:lnTo>
                            <a:pt x="981" y="204"/>
                          </a:lnTo>
                          <a:lnTo>
                            <a:pt x="979" y="209"/>
                          </a:lnTo>
                          <a:lnTo>
                            <a:pt x="971" y="212"/>
                          </a:lnTo>
                          <a:lnTo>
                            <a:pt x="967" y="218"/>
                          </a:lnTo>
                          <a:lnTo>
                            <a:pt x="958" y="227"/>
                          </a:lnTo>
                          <a:lnTo>
                            <a:pt x="956" y="241"/>
                          </a:lnTo>
                          <a:lnTo>
                            <a:pt x="948" y="236"/>
                          </a:lnTo>
                          <a:lnTo>
                            <a:pt x="942" y="246"/>
                          </a:lnTo>
                          <a:lnTo>
                            <a:pt x="948" y="253"/>
                          </a:lnTo>
                          <a:lnTo>
                            <a:pt x="941" y="258"/>
                          </a:lnTo>
                          <a:lnTo>
                            <a:pt x="935" y="243"/>
                          </a:lnTo>
                          <a:lnTo>
                            <a:pt x="922" y="258"/>
                          </a:lnTo>
                          <a:lnTo>
                            <a:pt x="921" y="267"/>
                          </a:lnTo>
                          <a:lnTo>
                            <a:pt x="921" y="275"/>
                          </a:lnTo>
                          <a:lnTo>
                            <a:pt x="910" y="284"/>
                          </a:lnTo>
                          <a:lnTo>
                            <a:pt x="905" y="293"/>
                          </a:lnTo>
                          <a:lnTo>
                            <a:pt x="896" y="301"/>
                          </a:lnTo>
                          <a:lnTo>
                            <a:pt x="879" y="307"/>
                          </a:lnTo>
                          <a:lnTo>
                            <a:pt x="869" y="306"/>
                          </a:lnTo>
                          <a:lnTo>
                            <a:pt x="864" y="307"/>
                          </a:lnTo>
                          <a:lnTo>
                            <a:pt x="862" y="312"/>
                          </a:lnTo>
                          <a:lnTo>
                            <a:pt x="852" y="313"/>
                          </a:lnTo>
                          <a:lnTo>
                            <a:pt x="838" y="321"/>
                          </a:lnTo>
                          <a:lnTo>
                            <a:pt x="833" y="318"/>
                          </a:lnTo>
                          <a:lnTo>
                            <a:pt x="826" y="319"/>
                          </a:lnTo>
                          <a:lnTo>
                            <a:pt x="812" y="327"/>
                          </a:lnTo>
                          <a:lnTo>
                            <a:pt x="804" y="335"/>
                          </a:lnTo>
                          <a:lnTo>
                            <a:pt x="790" y="341"/>
                          </a:lnTo>
                          <a:lnTo>
                            <a:pt x="783" y="353"/>
                          </a:lnTo>
                          <a:lnTo>
                            <a:pt x="781" y="339"/>
                          </a:lnTo>
                          <a:lnTo>
                            <a:pt x="775" y="353"/>
                          </a:lnTo>
                          <a:lnTo>
                            <a:pt x="777" y="364"/>
                          </a:lnTo>
                          <a:lnTo>
                            <a:pt x="773" y="373"/>
                          </a:lnTo>
                          <a:lnTo>
                            <a:pt x="770" y="378"/>
                          </a:lnTo>
                          <a:lnTo>
                            <a:pt x="769" y="389"/>
                          </a:lnTo>
                          <a:lnTo>
                            <a:pt x="772" y="395"/>
                          </a:lnTo>
                          <a:lnTo>
                            <a:pt x="773" y="399"/>
                          </a:lnTo>
                          <a:lnTo>
                            <a:pt x="783" y="415"/>
                          </a:lnTo>
                          <a:lnTo>
                            <a:pt x="783" y="424"/>
                          </a:lnTo>
                          <a:lnTo>
                            <a:pt x="778" y="418"/>
                          </a:lnTo>
                          <a:lnTo>
                            <a:pt x="769" y="412"/>
                          </a:lnTo>
                          <a:lnTo>
                            <a:pt x="775" y="430"/>
                          </a:lnTo>
                          <a:lnTo>
                            <a:pt x="767" y="421"/>
                          </a:lnTo>
                          <a:lnTo>
                            <a:pt x="770" y="430"/>
                          </a:lnTo>
                          <a:lnTo>
                            <a:pt x="780" y="444"/>
                          </a:lnTo>
                          <a:lnTo>
                            <a:pt x="783" y="459"/>
                          </a:lnTo>
                          <a:lnTo>
                            <a:pt x="790" y="467"/>
                          </a:lnTo>
                          <a:lnTo>
                            <a:pt x="790" y="473"/>
                          </a:lnTo>
                          <a:lnTo>
                            <a:pt x="796" y="485"/>
                          </a:lnTo>
                          <a:lnTo>
                            <a:pt x="796" y="498"/>
                          </a:lnTo>
                          <a:lnTo>
                            <a:pt x="800" y="508"/>
                          </a:lnTo>
                          <a:lnTo>
                            <a:pt x="809" y="528"/>
                          </a:lnTo>
                          <a:lnTo>
                            <a:pt x="810" y="541"/>
                          </a:lnTo>
                          <a:lnTo>
                            <a:pt x="807" y="555"/>
                          </a:lnTo>
                          <a:lnTo>
                            <a:pt x="809" y="562"/>
                          </a:lnTo>
                          <a:lnTo>
                            <a:pt x="806" y="567"/>
                          </a:lnTo>
                          <a:lnTo>
                            <a:pt x="796" y="570"/>
                          </a:lnTo>
                          <a:lnTo>
                            <a:pt x="796" y="582"/>
                          </a:lnTo>
                          <a:lnTo>
                            <a:pt x="806" y="585"/>
                          </a:lnTo>
                          <a:lnTo>
                            <a:pt x="824" y="599"/>
                          </a:lnTo>
                          <a:lnTo>
                            <a:pt x="836" y="599"/>
                          </a:lnTo>
                          <a:lnTo>
                            <a:pt x="849" y="599"/>
                          </a:lnTo>
                          <a:lnTo>
                            <a:pt x="856" y="593"/>
                          </a:lnTo>
                          <a:lnTo>
                            <a:pt x="866" y="587"/>
                          </a:lnTo>
                          <a:lnTo>
                            <a:pt x="870" y="588"/>
                          </a:lnTo>
                          <a:lnTo>
                            <a:pt x="881" y="578"/>
                          </a:lnTo>
                          <a:lnTo>
                            <a:pt x="892" y="576"/>
                          </a:lnTo>
                          <a:lnTo>
                            <a:pt x="905" y="575"/>
                          </a:lnTo>
                          <a:lnTo>
                            <a:pt x="919" y="578"/>
                          </a:lnTo>
                          <a:lnTo>
                            <a:pt x="931" y="576"/>
                          </a:lnTo>
                          <a:lnTo>
                            <a:pt x="945" y="576"/>
                          </a:lnTo>
                          <a:lnTo>
                            <a:pt x="951" y="567"/>
                          </a:lnTo>
                          <a:lnTo>
                            <a:pt x="954" y="556"/>
                          </a:lnTo>
                          <a:lnTo>
                            <a:pt x="970" y="551"/>
                          </a:lnTo>
                          <a:lnTo>
                            <a:pt x="988" y="541"/>
                          </a:lnTo>
                          <a:lnTo>
                            <a:pt x="1005" y="542"/>
                          </a:lnTo>
                          <a:lnTo>
                            <a:pt x="1023" y="536"/>
                          </a:lnTo>
                          <a:lnTo>
                            <a:pt x="1046" y="528"/>
                          </a:lnTo>
                          <a:lnTo>
                            <a:pt x="1077" y="527"/>
                          </a:lnTo>
                          <a:lnTo>
                            <a:pt x="1094" y="536"/>
                          </a:lnTo>
                          <a:lnTo>
                            <a:pt x="1106" y="536"/>
                          </a:lnTo>
                          <a:lnTo>
                            <a:pt x="1128" y="548"/>
                          </a:lnTo>
                          <a:lnTo>
                            <a:pt x="1125" y="555"/>
                          </a:lnTo>
                          <a:lnTo>
                            <a:pt x="1134" y="562"/>
                          </a:lnTo>
                          <a:lnTo>
                            <a:pt x="1145" y="576"/>
                          </a:lnTo>
                          <a:lnTo>
                            <a:pt x="1145" y="587"/>
                          </a:lnTo>
                          <a:lnTo>
                            <a:pt x="1157" y="596"/>
                          </a:lnTo>
                          <a:lnTo>
                            <a:pt x="1165" y="579"/>
                          </a:lnTo>
                          <a:lnTo>
                            <a:pt x="1175" y="573"/>
                          </a:lnTo>
                          <a:lnTo>
                            <a:pt x="1189" y="555"/>
                          </a:lnTo>
                          <a:lnTo>
                            <a:pt x="1191" y="570"/>
                          </a:lnTo>
                          <a:lnTo>
                            <a:pt x="1183" y="581"/>
                          </a:lnTo>
                          <a:lnTo>
                            <a:pt x="1181" y="593"/>
                          </a:lnTo>
                          <a:lnTo>
                            <a:pt x="1172" y="604"/>
                          </a:lnTo>
                          <a:lnTo>
                            <a:pt x="1188" y="601"/>
                          </a:lnTo>
                          <a:lnTo>
                            <a:pt x="1195" y="585"/>
                          </a:lnTo>
                          <a:lnTo>
                            <a:pt x="1200" y="601"/>
                          </a:lnTo>
                          <a:lnTo>
                            <a:pt x="1194" y="611"/>
                          </a:lnTo>
                          <a:lnTo>
                            <a:pt x="1211" y="615"/>
                          </a:lnTo>
                          <a:lnTo>
                            <a:pt x="1220" y="622"/>
                          </a:lnTo>
                          <a:lnTo>
                            <a:pt x="1223" y="633"/>
                          </a:lnTo>
                          <a:lnTo>
                            <a:pt x="1226" y="650"/>
                          </a:lnTo>
                          <a:lnTo>
                            <a:pt x="1237" y="662"/>
                          </a:lnTo>
                          <a:lnTo>
                            <a:pt x="1254" y="670"/>
                          </a:lnTo>
                          <a:lnTo>
                            <a:pt x="1264" y="671"/>
                          </a:lnTo>
                          <a:lnTo>
                            <a:pt x="1274" y="674"/>
                          </a:lnTo>
                          <a:lnTo>
                            <a:pt x="1289" y="681"/>
                          </a:lnTo>
                          <a:lnTo>
                            <a:pt x="1304" y="664"/>
                          </a:lnTo>
                          <a:lnTo>
                            <a:pt x="1313" y="661"/>
                          </a:lnTo>
                          <a:lnTo>
                            <a:pt x="1310" y="671"/>
                          </a:lnTo>
                          <a:lnTo>
                            <a:pt x="1321" y="676"/>
                          </a:lnTo>
                          <a:lnTo>
                            <a:pt x="1335" y="685"/>
                          </a:lnTo>
                          <a:lnTo>
                            <a:pt x="1346" y="676"/>
                          </a:lnTo>
                          <a:lnTo>
                            <a:pt x="1353" y="667"/>
                          </a:lnTo>
                          <a:lnTo>
                            <a:pt x="1369" y="658"/>
                          </a:lnTo>
                          <a:lnTo>
                            <a:pt x="1389" y="658"/>
                          </a:lnTo>
                          <a:lnTo>
                            <a:pt x="1398" y="650"/>
                          </a:lnTo>
                          <a:lnTo>
                            <a:pt x="1398" y="644"/>
                          </a:lnTo>
                          <a:lnTo>
                            <a:pt x="1399" y="628"/>
                          </a:lnTo>
                          <a:lnTo>
                            <a:pt x="1404" y="613"/>
                          </a:lnTo>
                          <a:lnTo>
                            <a:pt x="1410" y="602"/>
                          </a:lnTo>
                          <a:lnTo>
                            <a:pt x="1416" y="584"/>
                          </a:lnTo>
                          <a:lnTo>
                            <a:pt x="1422" y="573"/>
                          </a:lnTo>
                          <a:lnTo>
                            <a:pt x="1428" y="558"/>
                          </a:lnTo>
                          <a:lnTo>
                            <a:pt x="1441" y="548"/>
                          </a:lnTo>
                          <a:lnTo>
                            <a:pt x="1448" y="530"/>
                          </a:lnTo>
                          <a:lnTo>
                            <a:pt x="1451" y="515"/>
                          </a:lnTo>
                          <a:lnTo>
                            <a:pt x="1451" y="504"/>
                          </a:lnTo>
                          <a:lnTo>
                            <a:pt x="1456" y="485"/>
                          </a:lnTo>
                          <a:lnTo>
                            <a:pt x="1459" y="476"/>
                          </a:lnTo>
                          <a:lnTo>
                            <a:pt x="1459" y="459"/>
                          </a:lnTo>
                          <a:lnTo>
                            <a:pt x="1451" y="442"/>
                          </a:lnTo>
                          <a:lnTo>
                            <a:pt x="1453" y="432"/>
                          </a:lnTo>
                          <a:close/>
                        </a:path>
                      </a:pathLst>
                    </a:custGeom>
                    <a:solidFill>
                      <a:srgbClr val="D9D9D9"/>
                    </a:solidFill>
                    <a:ln w="4763" cap="flat">
                      <a:solidFill>
                        <a:srgbClr val="FFFFFF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endParaRPr lang="en-GB" sz="1000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65" name="Africa" descr="{&quot;Key&quot;:&quot;africa&quot;,&quot;Name&quot;:&quot;Africa&quot;,&quot;Value&quot;:1.0,&quot;Formula&quot;:&quot;&quot;,&quot;Text&quot;:&quot;&quot;,&quot;OfficeApplication&quot;:1,&quot;HasValue&quot;:true}">
                      <a:extLst>
                        <a:ext uri="{FF2B5EF4-FFF2-40B4-BE49-F238E27FC236}">
                          <a16:creationId xmlns:a16="http://schemas.microsoft.com/office/drawing/2014/main" id="{5A217E37-790E-45DA-A876-8878C9D3C6C4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4303" y="2158"/>
                      <a:ext cx="1184" cy="1329"/>
                    </a:xfrm>
                    <a:custGeom>
                      <a:avLst/>
                      <a:gdLst>
                        <a:gd name="T0" fmla="*/ 1146 w 1184"/>
                        <a:gd name="T1" fmla="*/ 495 h 1329"/>
                        <a:gd name="T2" fmla="*/ 1063 w 1184"/>
                        <a:gd name="T3" fmla="*/ 512 h 1329"/>
                        <a:gd name="T4" fmla="*/ 1045 w 1184"/>
                        <a:gd name="T5" fmla="*/ 472 h 1329"/>
                        <a:gd name="T6" fmla="*/ 974 w 1184"/>
                        <a:gd name="T7" fmla="*/ 399 h 1329"/>
                        <a:gd name="T8" fmla="*/ 939 w 1184"/>
                        <a:gd name="T9" fmla="*/ 305 h 1329"/>
                        <a:gd name="T10" fmla="*/ 891 w 1184"/>
                        <a:gd name="T11" fmla="*/ 228 h 1329"/>
                        <a:gd name="T12" fmla="*/ 887 w 1184"/>
                        <a:gd name="T13" fmla="*/ 199 h 1329"/>
                        <a:gd name="T14" fmla="*/ 871 w 1184"/>
                        <a:gd name="T15" fmla="*/ 133 h 1329"/>
                        <a:gd name="T16" fmla="*/ 801 w 1184"/>
                        <a:gd name="T17" fmla="*/ 136 h 1329"/>
                        <a:gd name="T18" fmla="*/ 710 w 1184"/>
                        <a:gd name="T19" fmla="*/ 108 h 1329"/>
                        <a:gd name="T20" fmla="*/ 649 w 1184"/>
                        <a:gd name="T21" fmla="*/ 133 h 1329"/>
                        <a:gd name="T22" fmla="*/ 543 w 1184"/>
                        <a:gd name="T23" fmla="*/ 97 h 1329"/>
                        <a:gd name="T24" fmla="*/ 479 w 1184"/>
                        <a:gd name="T25" fmla="*/ 65 h 1329"/>
                        <a:gd name="T26" fmla="*/ 479 w 1184"/>
                        <a:gd name="T27" fmla="*/ 14 h 1329"/>
                        <a:gd name="T28" fmla="*/ 396 w 1184"/>
                        <a:gd name="T29" fmla="*/ 14 h 1329"/>
                        <a:gd name="T30" fmla="*/ 267 w 1184"/>
                        <a:gd name="T31" fmla="*/ 46 h 1329"/>
                        <a:gd name="T32" fmla="*/ 186 w 1184"/>
                        <a:gd name="T33" fmla="*/ 70 h 1329"/>
                        <a:gd name="T34" fmla="*/ 124 w 1184"/>
                        <a:gd name="T35" fmla="*/ 169 h 1329"/>
                        <a:gd name="T36" fmla="*/ 55 w 1184"/>
                        <a:gd name="T37" fmla="*/ 225 h 1329"/>
                        <a:gd name="T38" fmla="*/ 25 w 1184"/>
                        <a:gd name="T39" fmla="*/ 292 h 1329"/>
                        <a:gd name="T40" fmla="*/ 22 w 1184"/>
                        <a:gd name="T41" fmla="*/ 349 h 1329"/>
                        <a:gd name="T42" fmla="*/ 8 w 1184"/>
                        <a:gd name="T43" fmla="*/ 434 h 1329"/>
                        <a:gd name="T44" fmla="*/ 23 w 1184"/>
                        <a:gd name="T45" fmla="*/ 486 h 1329"/>
                        <a:gd name="T46" fmla="*/ 54 w 1184"/>
                        <a:gd name="T47" fmla="*/ 515 h 1329"/>
                        <a:gd name="T48" fmla="*/ 91 w 1184"/>
                        <a:gd name="T49" fmla="*/ 568 h 1329"/>
                        <a:gd name="T50" fmla="*/ 172 w 1184"/>
                        <a:gd name="T51" fmla="*/ 617 h 1329"/>
                        <a:gd name="T52" fmla="*/ 255 w 1184"/>
                        <a:gd name="T53" fmla="*/ 606 h 1329"/>
                        <a:gd name="T54" fmla="*/ 365 w 1184"/>
                        <a:gd name="T55" fmla="*/ 585 h 1329"/>
                        <a:gd name="T56" fmla="*/ 433 w 1184"/>
                        <a:gd name="T57" fmla="*/ 617 h 1329"/>
                        <a:gd name="T58" fmla="*/ 469 w 1184"/>
                        <a:gd name="T59" fmla="*/ 652 h 1329"/>
                        <a:gd name="T60" fmla="*/ 466 w 1184"/>
                        <a:gd name="T61" fmla="*/ 729 h 1329"/>
                        <a:gd name="T62" fmla="*/ 523 w 1184"/>
                        <a:gd name="T63" fmla="*/ 810 h 1329"/>
                        <a:gd name="T64" fmla="*/ 540 w 1184"/>
                        <a:gd name="T65" fmla="*/ 877 h 1329"/>
                        <a:gd name="T66" fmla="*/ 512 w 1184"/>
                        <a:gd name="T67" fmla="*/ 949 h 1329"/>
                        <a:gd name="T68" fmla="*/ 534 w 1184"/>
                        <a:gd name="T69" fmla="*/ 1058 h 1329"/>
                        <a:gd name="T70" fmla="*/ 566 w 1184"/>
                        <a:gd name="T71" fmla="*/ 1173 h 1329"/>
                        <a:gd name="T72" fmla="*/ 618 w 1184"/>
                        <a:gd name="T73" fmla="*/ 1279 h 1329"/>
                        <a:gd name="T74" fmla="*/ 634 w 1184"/>
                        <a:gd name="T75" fmla="*/ 1321 h 1329"/>
                        <a:gd name="T76" fmla="*/ 710 w 1184"/>
                        <a:gd name="T77" fmla="*/ 1307 h 1329"/>
                        <a:gd name="T78" fmla="*/ 790 w 1184"/>
                        <a:gd name="T79" fmla="*/ 1287 h 1329"/>
                        <a:gd name="T80" fmla="*/ 858 w 1184"/>
                        <a:gd name="T81" fmla="*/ 1207 h 1329"/>
                        <a:gd name="T82" fmla="*/ 871 w 1184"/>
                        <a:gd name="T83" fmla="*/ 1141 h 1329"/>
                        <a:gd name="T84" fmla="*/ 916 w 1184"/>
                        <a:gd name="T85" fmla="*/ 1080 h 1329"/>
                        <a:gd name="T86" fmla="*/ 922 w 1184"/>
                        <a:gd name="T87" fmla="*/ 1021 h 1329"/>
                        <a:gd name="T88" fmla="*/ 1005 w 1184"/>
                        <a:gd name="T89" fmla="*/ 946 h 1329"/>
                        <a:gd name="T90" fmla="*/ 983 w 1184"/>
                        <a:gd name="T91" fmla="*/ 849 h 1329"/>
                        <a:gd name="T92" fmla="*/ 971 w 1184"/>
                        <a:gd name="T93" fmla="*/ 794 h 1329"/>
                        <a:gd name="T94" fmla="*/ 1008 w 1184"/>
                        <a:gd name="T95" fmla="*/ 727 h 1329"/>
                        <a:gd name="T96" fmla="*/ 1104 w 1184"/>
                        <a:gd name="T97" fmla="*/ 643 h 1329"/>
                        <a:gd name="T98" fmla="*/ 1183 w 1184"/>
                        <a:gd name="T99" fmla="*/ 508 h 1329"/>
                        <a:gd name="T100" fmla="*/ 1161 w 1184"/>
                        <a:gd name="T101" fmla="*/ 958 h 1329"/>
                        <a:gd name="T102" fmla="*/ 1140 w 1184"/>
                        <a:gd name="T103" fmla="*/ 1050 h 1329"/>
                        <a:gd name="T104" fmla="*/ 1062 w 1184"/>
                        <a:gd name="T105" fmla="*/ 1133 h 1329"/>
                        <a:gd name="T106" fmla="*/ 1058 w 1184"/>
                        <a:gd name="T107" fmla="*/ 1056 h 1329"/>
                        <a:gd name="T108" fmla="*/ 1069 w 1184"/>
                        <a:gd name="T109" fmla="*/ 973 h 1329"/>
                        <a:gd name="T110" fmla="*/ 1129 w 1184"/>
                        <a:gd name="T111" fmla="*/ 935 h 1329"/>
                        <a:gd name="T112" fmla="*/ 1161 w 1184"/>
                        <a:gd name="T113" fmla="*/ 913 h 13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184" h="1329">
                          <a:moveTo>
                            <a:pt x="1184" y="489"/>
                          </a:moveTo>
                          <a:lnTo>
                            <a:pt x="1183" y="485"/>
                          </a:lnTo>
                          <a:lnTo>
                            <a:pt x="1177" y="485"/>
                          </a:lnTo>
                          <a:lnTo>
                            <a:pt x="1169" y="489"/>
                          </a:lnTo>
                          <a:lnTo>
                            <a:pt x="1160" y="492"/>
                          </a:lnTo>
                          <a:lnTo>
                            <a:pt x="1152" y="494"/>
                          </a:lnTo>
                          <a:lnTo>
                            <a:pt x="1146" y="495"/>
                          </a:lnTo>
                          <a:lnTo>
                            <a:pt x="1137" y="495"/>
                          </a:lnTo>
                          <a:lnTo>
                            <a:pt x="1131" y="498"/>
                          </a:lnTo>
                          <a:lnTo>
                            <a:pt x="1121" y="500"/>
                          </a:lnTo>
                          <a:lnTo>
                            <a:pt x="1106" y="505"/>
                          </a:lnTo>
                          <a:lnTo>
                            <a:pt x="1088" y="508"/>
                          </a:lnTo>
                          <a:lnTo>
                            <a:pt x="1071" y="512"/>
                          </a:lnTo>
                          <a:lnTo>
                            <a:pt x="1063" y="512"/>
                          </a:lnTo>
                          <a:lnTo>
                            <a:pt x="1055" y="505"/>
                          </a:lnTo>
                          <a:lnTo>
                            <a:pt x="1052" y="497"/>
                          </a:lnTo>
                          <a:lnTo>
                            <a:pt x="1046" y="494"/>
                          </a:lnTo>
                          <a:lnTo>
                            <a:pt x="1039" y="489"/>
                          </a:lnTo>
                          <a:lnTo>
                            <a:pt x="1049" y="485"/>
                          </a:lnTo>
                          <a:lnTo>
                            <a:pt x="1049" y="477"/>
                          </a:lnTo>
                          <a:lnTo>
                            <a:pt x="1045" y="472"/>
                          </a:lnTo>
                          <a:lnTo>
                            <a:pt x="1037" y="468"/>
                          </a:lnTo>
                          <a:lnTo>
                            <a:pt x="1031" y="462"/>
                          </a:lnTo>
                          <a:lnTo>
                            <a:pt x="1022" y="451"/>
                          </a:lnTo>
                          <a:lnTo>
                            <a:pt x="1012" y="440"/>
                          </a:lnTo>
                          <a:lnTo>
                            <a:pt x="989" y="425"/>
                          </a:lnTo>
                          <a:lnTo>
                            <a:pt x="979" y="415"/>
                          </a:lnTo>
                          <a:lnTo>
                            <a:pt x="974" y="399"/>
                          </a:lnTo>
                          <a:lnTo>
                            <a:pt x="965" y="379"/>
                          </a:lnTo>
                          <a:lnTo>
                            <a:pt x="956" y="371"/>
                          </a:lnTo>
                          <a:lnTo>
                            <a:pt x="948" y="368"/>
                          </a:lnTo>
                          <a:lnTo>
                            <a:pt x="942" y="345"/>
                          </a:lnTo>
                          <a:lnTo>
                            <a:pt x="940" y="326"/>
                          </a:lnTo>
                          <a:lnTo>
                            <a:pt x="943" y="323"/>
                          </a:lnTo>
                          <a:lnTo>
                            <a:pt x="939" y="305"/>
                          </a:lnTo>
                          <a:lnTo>
                            <a:pt x="936" y="302"/>
                          </a:lnTo>
                          <a:lnTo>
                            <a:pt x="914" y="285"/>
                          </a:lnTo>
                          <a:lnTo>
                            <a:pt x="914" y="272"/>
                          </a:lnTo>
                          <a:lnTo>
                            <a:pt x="917" y="269"/>
                          </a:lnTo>
                          <a:lnTo>
                            <a:pt x="902" y="248"/>
                          </a:lnTo>
                          <a:lnTo>
                            <a:pt x="897" y="237"/>
                          </a:lnTo>
                          <a:lnTo>
                            <a:pt x="891" y="228"/>
                          </a:lnTo>
                          <a:lnTo>
                            <a:pt x="877" y="197"/>
                          </a:lnTo>
                          <a:lnTo>
                            <a:pt x="867" y="177"/>
                          </a:lnTo>
                          <a:lnTo>
                            <a:pt x="861" y="157"/>
                          </a:lnTo>
                          <a:lnTo>
                            <a:pt x="862" y="156"/>
                          </a:lnTo>
                          <a:lnTo>
                            <a:pt x="874" y="183"/>
                          </a:lnTo>
                          <a:lnTo>
                            <a:pt x="882" y="193"/>
                          </a:lnTo>
                          <a:lnTo>
                            <a:pt x="887" y="199"/>
                          </a:lnTo>
                          <a:lnTo>
                            <a:pt x="891" y="196"/>
                          </a:lnTo>
                          <a:lnTo>
                            <a:pt x="896" y="185"/>
                          </a:lnTo>
                          <a:lnTo>
                            <a:pt x="900" y="169"/>
                          </a:lnTo>
                          <a:lnTo>
                            <a:pt x="905" y="162"/>
                          </a:lnTo>
                          <a:lnTo>
                            <a:pt x="893" y="128"/>
                          </a:lnTo>
                          <a:lnTo>
                            <a:pt x="885" y="133"/>
                          </a:lnTo>
                          <a:lnTo>
                            <a:pt x="871" y="133"/>
                          </a:lnTo>
                          <a:lnTo>
                            <a:pt x="858" y="128"/>
                          </a:lnTo>
                          <a:lnTo>
                            <a:pt x="853" y="134"/>
                          </a:lnTo>
                          <a:lnTo>
                            <a:pt x="848" y="123"/>
                          </a:lnTo>
                          <a:lnTo>
                            <a:pt x="836" y="122"/>
                          </a:lnTo>
                          <a:lnTo>
                            <a:pt x="822" y="123"/>
                          </a:lnTo>
                          <a:lnTo>
                            <a:pt x="815" y="129"/>
                          </a:lnTo>
                          <a:lnTo>
                            <a:pt x="801" y="136"/>
                          </a:lnTo>
                          <a:lnTo>
                            <a:pt x="793" y="133"/>
                          </a:lnTo>
                          <a:lnTo>
                            <a:pt x="776" y="126"/>
                          </a:lnTo>
                          <a:lnTo>
                            <a:pt x="759" y="120"/>
                          </a:lnTo>
                          <a:lnTo>
                            <a:pt x="736" y="122"/>
                          </a:lnTo>
                          <a:lnTo>
                            <a:pt x="733" y="114"/>
                          </a:lnTo>
                          <a:lnTo>
                            <a:pt x="715" y="113"/>
                          </a:lnTo>
                          <a:lnTo>
                            <a:pt x="710" y="108"/>
                          </a:lnTo>
                          <a:lnTo>
                            <a:pt x="704" y="108"/>
                          </a:lnTo>
                          <a:lnTo>
                            <a:pt x="698" y="99"/>
                          </a:lnTo>
                          <a:lnTo>
                            <a:pt x="675" y="96"/>
                          </a:lnTo>
                          <a:lnTo>
                            <a:pt x="663" y="99"/>
                          </a:lnTo>
                          <a:lnTo>
                            <a:pt x="650" y="108"/>
                          </a:lnTo>
                          <a:lnTo>
                            <a:pt x="644" y="117"/>
                          </a:lnTo>
                          <a:lnTo>
                            <a:pt x="649" y="133"/>
                          </a:lnTo>
                          <a:lnTo>
                            <a:pt x="641" y="142"/>
                          </a:lnTo>
                          <a:lnTo>
                            <a:pt x="632" y="146"/>
                          </a:lnTo>
                          <a:lnTo>
                            <a:pt x="614" y="137"/>
                          </a:lnTo>
                          <a:lnTo>
                            <a:pt x="589" y="129"/>
                          </a:lnTo>
                          <a:lnTo>
                            <a:pt x="574" y="125"/>
                          </a:lnTo>
                          <a:lnTo>
                            <a:pt x="566" y="106"/>
                          </a:lnTo>
                          <a:lnTo>
                            <a:pt x="543" y="97"/>
                          </a:lnTo>
                          <a:lnTo>
                            <a:pt x="529" y="94"/>
                          </a:lnTo>
                          <a:lnTo>
                            <a:pt x="522" y="96"/>
                          </a:lnTo>
                          <a:lnTo>
                            <a:pt x="502" y="90"/>
                          </a:lnTo>
                          <a:lnTo>
                            <a:pt x="496" y="86"/>
                          </a:lnTo>
                          <a:lnTo>
                            <a:pt x="491" y="76"/>
                          </a:lnTo>
                          <a:lnTo>
                            <a:pt x="482" y="76"/>
                          </a:lnTo>
                          <a:lnTo>
                            <a:pt x="479" y="65"/>
                          </a:lnTo>
                          <a:lnTo>
                            <a:pt x="489" y="54"/>
                          </a:lnTo>
                          <a:lnTo>
                            <a:pt x="492" y="36"/>
                          </a:lnTo>
                          <a:lnTo>
                            <a:pt x="486" y="31"/>
                          </a:lnTo>
                          <a:lnTo>
                            <a:pt x="486" y="20"/>
                          </a:lnTo>
                          <a:lnTo>
                            <a:pt x="496" y="10"/>
                          </a:lnTo>
                          <a:lnTo>
                            <a:pt x="494" y="7"/>
                          </a:lnTo>
                          <a:lnTo>
                            <a:pt x="479" y="14"/>
                          </a:lnTo>
                          <a:lnTo>
                            <a:pt x="480" y="3"/>
                          </a:lnTo>
                          <a:lnTo>
                            <a:pt x="468" y="0"/>
                          </a:lnTo>
                          <a:lnTo>
                            <a:pt x="450" y="10"/>
                          </a:lnTo>
                          <a:lnTo>
                            <a:pt x="437" y="11"/>
                          </a:lnTo>
                          <a:lnTo>
                            <a:pt x="430" y="5"/>
                          </a:lnTo>
                          <a:lnTo>
                            <a:pt x="411" y="7"/>
                          </a:lnTo>
                          <a:lnTo>
                            <a:pt x="396" y="14"/>
                          </a:lnTo>
                          <a:lnTo>
                            <a:pt x="387" y="11"/>
                          </a:lnTo>
                          <a:lnTo>
                            <a:pt x="359" y="13"/>
                          </a:lnTo>
                          <a:lnTo>
                            <a:pt x="330" y="17"/>
                          </a:lnTo>
                          <a:lnTo>
                            <a:pt x="313" y="23"/>
                          </a:lnTo>
                          <a:lnTo>
                            <a:pt x="302" y="33"/>
                          </a:lnTo>
                          <a:lnTo>
                            <a:pt x="284" y="36"/>
                          </a:lnTo>
                          <a:lnTo>
                            <a:pt x="267" y="46"/>
                          </a:lnTo>
                          <a:lnTo>
                            <a:pt x="259" y="46"/>
                          </a:lnTo>
                          <a:lnTo>
                            <a:pt x="241" y="42"/>
                          </a:lnTo>
                          <a:lnTo>
                            <a:pt x="226" y="43"/>
                          </a:lnTo>
                          <a:lnTo>
                            <a:pt x="215" y="34"/>
                          </a:lnTo>
                          <a:lnTo>
                            <a:pt x="203" y="34"/>
                          </a:lnTo>
                          <a:lnTo>
                            <a:pt x="196" y="48"/>
                          </a:lnTo>
                          <a:lnTo>
                            <a:pt x="186" y="70"/>
                          </a:lnTo>
                          <a:lnTo>
                            <a:pt x="172" y="77"/>
                          </a:lnTo>
                          <a:lnTo>
                            <a:pt x="155" y="86"/>
                          </a:lnTo>
                          <a:lnTo>
                            <a:pt x="144" y="100"/>
                          </a:lnTo>
                          <a:lnTo>
                            <a:pt x="141" y="111"/>
                          </a:lnTo>
                          <a:lnTo>
                            <a:pt x="135" y="129"/>
                          </a:lnTo>
                          <a:lnTo>
                            <a:pt x="140" y="154"/>
                          </a:lnTo>
                          <a:lnTo>
                            <a:pt x="124" y="169"/>
                          </a:lnTo>
                          <a:lnTo>
                            <a:pt x="117" y="176"/>
                          </a:lnTo>
                          <a:lnTo>
                            <a:pt x="103" y="189"/>
                          </a:lnTo>
                          <a:lnTo>
                            <a:pt x="88" y="191"/>
                          </a:lnTo>
                          <a:lnTo>
                            <a:pt x="78" y="199"/>
                          </a:lnTo>
                          <a:lnTo>
                            <a:pt x="78" y="199"/>
                          </a:lnTo>
                          <a:lnTo>
                            <a:pt x="68" y="219"/>
                          </a:lnTo>
                          <a:lnTo>
                            <a:pt x="55" y="225"/>
                          </a:lnTo>
                          <a:lnTo>
                            <a:pt x="49" y="237"/>
                          </a:lnTo>
                          <a:lnTo>
                            <a:pt x="49" y="248"/>
                          </a:lnTo>
                          <a:lnTo>
                            <a:pt x="45" y="259"/>
                          </a:lnTo>
                          <a:lnTo>
                            <a:pt x="38" y="262"/>
                          </a:lnTo>
                          <a:lnTo>
                            <a:pt x="29" y="272"/>
                          </a:lnTo>
                          <a:lnTo>
                            <a:pt x="23" y="286"/>
                          </a:lnTo>
                          <a:lnTo>
                            <a:pt x="25" y="292"/>
                          </a:lnTo>
                          <a:lnTo>
                            <a:pt x="19" y="302"/>
                          </a:lnTo>
                          <a:lnTo>
                            <a:pt x="12" y="308"/>
                          </a:lnTo>
                          <a:lnTo>
                            <a:pt x="11" y="315"/>
                          </a:lnTo>
                          <a:lnTo>
                            <a:pt x="11" y="323"/>
                          </a:lnTo>
                          <a:lnTo>
                            <a:pt x="20" y="331"/>
                          </a:lnTo>
                          <a:lnTo>
                            <a:pt x="23" y="340"/>
                          </a:lnTo>
                          <a:lnTo>
                            <a:pt x="22" y="349"/>
                          </a:lnTo>
                          <a:lnTo>
                            <a:pt x="25" y="359"/>
                          </a:lnTo>
                          <a:lnTo>
                            <a:pt x="26" y="375"/>
                          </a:lnTo>
                          <a:lnTo>
                            <a:pt x="25" y="392"/>
                          </a:lnTo>
                          <a:lnTo>
                            <a:pt x="19" y="402"/>
                          </a:lnTo>
                          <a:lnTo>
                            <a:pt x="20" y="412"/>
                          </a:lnTo>
                          <a:lnTo>
                            <a:pt x="17" y="420"/>
                          </a:lnTo>
                          <a:lnTo>
                            <a:pt x="8" y="434"/>
                          </a:lnTo>
                          <a:lnTo>
                            <a:pt x="0" y="437"/>
                          </a:lnTo>
                          <a:lnTo>
                            <a:pt x="9" y="443"/>
                          </a:lnTo>
                          <a:lnTo>
                            <a:pt x="17" y="457"/>
                          </a:lnTo>
                          <a:lnTo>
                            <a:pt x="14" y="465"/>
                          </a:lnTo>
                          <a:lnTo>
                            <a:pt x="17" y="478"/>
                          </a:lnTo>
                          <a:lnTo>
                            <a:pt x="19" y="482"/>
                          </a:lnTo>
                          <a:lnTo>
                            <a:pt x="23" y="486"/>
                          </a:lnTo>
                          <a:lnTo>
                            <a:pt x="23" y="488"/>
                          </a:lnTo>
                          <a:lnTo>
                            <a:pt x="28" y="492"/>
                          </a:lnTo>
                          <a:lnTo>
                            <a:pt x="34" y="494"/>
                          </a:lnTo>
                          <a:lnTo>
                            <a:pt x="43" y="501"/>
                          </a:lnTo>
                          <a:lnTo>
                            <a:pt x="49" y="505"/>
                          </a:lnTo>
                          <a:lnTo>
                            <a:pt x="51" y="508"/>
                          </a:lnTo>
                          <a:lnTo>
                            <a:pt x="54" y="515"/>
                          </a:lnTo>
                          <a:lnTo>
                            <a:pt x="57" y="520"/>
                          </a:lnTo>
                          <a:lnTo>
                            <a:pt x="61" y="521"/>
                          </a:lnTo>
                          <a:lnTo>
                            <a:pt x="69" y="528"/>
                          </a:lnTo>
                          <a:lnTo>
                            <a:pt x="75" y="538"/>
                          </a:lnTo>
                          <a:lnTo>
                            <a:pt x="78" y="551"/>
                          </a:lnTo>
                          <a:lnTo>
                            <a:pt x="81" y="558"/>
                          </a:lnTo>
                          <a:lnTo>
                            <a:pt x="91" y="568"/>
                          </a:lnTo>
                          <a:lnTo>
                            <a:pt x="103" y="574"/>
                          </a:lnTo>
                          <a:lnTo>
                            <a:pt x="107" y="575"/>
                          </a:lnTo>
                          <a:lnTo>
                            <a:pt x="118" y="586"/>
                          </a:lnTo>
                          <a:lnTo>
                            <a:pt x="134" y="595"/>
                          </a:lnTo>
                          <a:lnTo>
                            <a:pt x="149" y="609"/>
                          </a:lnTo>
                          <a:lnTo>
                            <a:pt x="167" y="617"/>
                          </a:lnTo>
                          <a:lnTo>
                            <a:pt x="172" y="617"/>
                          </a:lnTo>
                          <a:lnTo>
                            <a:pt x="175" y="617"/>
                          </a:lnTo>
                          <a:lnTo>
                            <a:pt x="192" y="611"/>
                          </a:lnTo>
                          <a:lnTo>
                            <a:pt x="204" y="606"/>
                          </a:lnTo>
                          <a:lnTo>
                            <a:pt x="224" y="603"/>
                          </a:lnTo>
                          <a:lnTo>
                            <a:pt x="235" y="603"/>
                          </a:lnTo>
                          <a:lnTo>
                            <a:pt x="247" y="606"/>
                          </a:lnTo>
                          <a:lnTo>
                            <a:pt x="255" y="606"/>
                          </a:lnTo>
                          <a:lnTo>
                            <a:pt x="270" y="611"/>
                          </a:lnTo>
                          <a:lnTo>
                            <a:pt x="285" y="606"/>
                          </a:lnTo>
                          <a:lnTo>
                            <a:pt x="295" y="600"/>
                          </a:lnTo>
                          <a:lnTo>
                            <a:pt x="322" y="591"/>
                          </a:lnTo>
                          <a:lnTo>
                            <a:pt x="336" y="586"/>
                          </a:lnTo>
                          <a:lnTo>
                            <a:pt x="350" y="585"/>
                          </a:lnTo>
                          <a:lnTo>
                            <a:pt x="365" y="585"/>
                          </a:lnTo>
                          <a:lnTo>
                            <a:pt x="379" y="585"/>
                          </a:lnTo>
                          <a:lnTo>
                            <a:pt x="391" y="595"/>
                          </a:lnTo>
                          <a:lnTo>
                            <a:pt x="396" y="608"/>
                          </a:lnTo>
                          <a:lnTo>
                            <a:pt x="405" y="618"/>
                          </a:lnTo>
                          <a:lnTo>
                            <a:pt x="419" y="618"/>
                          </a:lnTo>
                          <a:lnTo>
                            <a:pt x="427" y="615"/>
                          </a:lnTo>
                          <a:lnTo>
                            <a:pt x="433" y="617"/>
                          </a:lnTo>
                          <a:lnTo>
                            <a:pt x="450" y="609"/>
                          </a:lnTo>
                          <a:lnTo>
                            <a:pt x="450" y="615"/>
                          </a:lnTo>
                          <a:lnTo>
                            <a:pt x="454" y="617"/>
                          </a:lnTo>
                          <a:lnTo>
                            <a:pt x="457" y="624"/>
                          </a:lnTo>
                          <a:lnTo>
                            <a:pt x="466" y="628"/>
                          </a:lnTo>
                          <a:lnTo>
                            <a:pt x="473" y="638"/>
                          </a:lnTo>
                          <a:lnTo>
                            <a:pt x="469" y="652"/>
                          </a:lnTo>
                          <a:lnTo>
                            <a:pt x="465" y="672"/>
                          </a:lnTo>
                          <a:lnTo>
                            <a:pt x="468" y="674"/>
                          </a:lnTo>
                          <a:lnTo>
                            <a:pt x="463" y="688"/>
                          </a:lnTo>
                          <a:lnTo>
                            <a:pt x="460" y="700"/>
                          </a:lnTo>
                          <a:lnTo>
                            <a:pt x="456" y="704"/>
                          </a:lnTo>
                          <a:lnTo>
                            <a:pt x="456" y="711"/>
                          </a:lnTo>
                          <a:lnTo>
                            <a:pt x="466" y="729"/>
                          </a:lnTo>
                          <a:lnTo>
                            <a:pt x="477" y="743"/>
                          </a:lnTo>
                          <a:lnTo>
                            <a:pt x="496" y="760"/>
                          </a:lnTo>
                          <a:lnTo>
                            <a:pt x="509" y="778"/>
                          </a:lnTo>
                          <a:lnTo>
                            <a:pt x="514" y="790"/>
                          </a:lnTo>
                          <a:lnTo>
                            <a:pt x="515" y="797"/>
                          </a:lnTo>
                          <a:lnTo>
                            <a:pt x="514" y="800"/>
                          </a:lnTo>
                          <a:lnTo>
                            <a:pt x="523" y="810"/>
                          </a:lnTo>
                          <a:lnTo>
                            <a:pt x="526" y="823"/>
                          </a:lnTo>
                          <a:lnTo>
                            <a:pt x="532" y="838"/>
                          </a:lnTo>
                          <a:lnTo>
                            <a:pt x="526" y="846"/>
                          </a:lnTo>
                          <a:lnTo>
                            <a:pt x="525" y="849"/>
                          </a:lnTo>
                          <a:lnTo>
                            <a:pt x="529" y="860"/>
                          </a:lnTo>
                          <a:lnTo>
                            <a:pt x="534" y="870"/>
                          </a:lnTo>
                          <a:lnTo>
                            <a:pt x="540" y="877"/>
                          </a:lnTo>
                          <a:lnTo>
                            <a:pt x="540" y="886"/>
                          </a:lnTo>
                          <a:lnTo>
                            <a:pt x="539" y="900"/>
                          </a:lnTo>
                          <a:lnTo>
                            <a:pt x="532" y="907"/>
                          </a:lnTo>
                          <a:lnTo>
                            <a:pt x="523" y="918"/>
                          </a:lnTo>
                          <a:lnTo>
                            <a:pt x="519" y="926"/>
                          </a:lnTo>
                          <a:lnTo>
                            <a:pt x="514" y="941"/>
                          </a:lnTo>
                          <a:lnTo>
                            <a:pt x="512" y="949"/>
                          </a:lnTo>
                          <a:lnTo>
                            <a:pt x="506" y="966"/>
                          </a:lnTo>
                          <a:lnTo>
                            <a:pt x="505" y="981"/>
                          </a:lnTo>
                          <a:lnTo>
                            <a:pt x="506" y="992"/>
                          </a:lnTo>
                          <a:lnTo>
                            <a:pt x="506" y="1006"/>
                          </a:lnTo>
                          <a:lnTo>
                            <a:pt x="520" y="1024"/>
                          </a:lnTo>
                          <a:lnTo>
                            <a:pt x="525" y="1035"/>
                          </a:lnTo>
                          <a:lnTo>
                            <a:pt x="534" y="1058"/>
                          </a:lnTo>
                          <a:lnTo>
                            <a:pt x="543" y="1072"/>
                          </a:lnTo>
                          <a:lnTo>
                            <a:pt x="549" y="1080"/>
                          </a:lnTo>
                          <a:lnTo>
                            <a:pt x="551" y="1090"/>
                          </a:lnTo>
                          <a:lnTo>
                            <a:pt x="552" y="1112"/>
                          </a:lnTo>
                          <a:lnTo>
                            <a:pt x="557" y="1141"/>
                          </a:lnTo>
                          <a:lnTo>
                            <a:pt x="562" y="1155"/>
                          </a:lnTo>
                          <a:lnTo>
                            <a:pt x="566" y="1173"/>
                          </a:lnTo>
                          <a:lnTo>
                            <a:pt x="572" y="1189"/>
                          </a:lnTo>
                          <a:lnTo>
                            <a:pt x="585" y="1202"/>
                          </a:lnTo>
                          <a:lnTo>
                            <a:pt x="597" y="1229"/>
                          </a:lnTo>
                          <a:lnTo>
                            <a:pt x="597" y="1229"/>
                          </a:lnTo>
                          <a:lnTo>
                            <a:pt x="606" y="1246"/>
                          </a:lnTo>
                          <a:lnTo>
                            <a:pt x="617" y="1264"/>
                          </a:lnTo>
                          <a:lnTo>
                            <a:pt x="618" y="1279"/>
                          </a:lnTo>
                          <a:lnTo>
                            <a:pt x="612" y="1284"/>
                          </a:lnTo>
                          <a:lnTo>
                            <a:pt x="618" y="1296"/>
                          </a:lnTo>
                          <a:lnTo>
                            <a:pt x="618" y="1309"/>
                          </a:lnTo>
                          <a:lnTo>
                            <a:pt x="620" y="1315"/>
                          </a:lnTo>
                          <a:lnTo>
                            <a:pt x="621" y="1312"/>
                          </a:lnTo>
                          <a:lnTo>
                            <a:pt x="627" y="1321"/>
                          </a:lnTo>
                          <a:lnTo>
                            <a:pt x="634" y="1321"/>
                          </a:lnTo>
                          <a:lnTo>
                            <a:pt x="641" y="1329"/>
                          </a:lnTo>
                          <a:lnTo>
                            <a:pt x="649" y="1329"/>
                          </a:lnTo>
                          <a:lnTo>
                            <a:pt x="660" y="1321"/>
                          </a:lnTo>
                          <a:lnTo>
                            <a:pt x="675" y="1318"/>
                          </a:lnTo>
                          <a:lnTo>
                            <a:pt x="692" y="1309"/>
                          </a:lnTo>
                          <a:lnTo>
                            <a:pt x="700" y="1310"/>
                          </a:lnTo>
                          <a:lnTo>
                            <a:pt x="710" y="1307"/>
                          </a:lnTo>
                          <a:lnTo>
                            <a:pt x="729" y="1312"/>
                          </a:lnTo>
                          <a:lnTo>
                            <a:pt x="736" y="1307"/>
                          </a:lnTo>
                          <a:lnTo>
                            <a:pt x="747" y="1310"/>
                          </a:lnTo>
                          <a:lnTo>
                            <a:pt x="750" y="1305"/>
                          </a:lnTo>
                          <a:lnTo>
                            <a:pt x="758" y="1304"/>
                          </a:lnTo>
                          <a:lnTo>
                            <a:pt x="776" y="1296"/>
                          </a:lnTo>
                          <a:lnTo>
                            <a:pt x="790" y="1287"/>
                          </a:lnTo>
                          <a:lnTo>
                            <a:pt x="801" y="1275"/>
                          </a:lnTo>
                          <a:lnTo>
                            <a:pt x="821" y="1253"/>
                          </a:lnTo>
                          <a:lnTo>
                            <a:pt x="830" y="1239"/>
                          </a:lnTo>
                          <a:lnTo>
                            <a:pt x="836" y="1229"/>
                          </a:lnTo>
                          <a:lnTo>
                            <a:pt x="842" y="1219"/>
                          </a:lnTo>
                          <a:lnTo>
                            <a:pt x="847" y="1216"/>
                          </a:lnTo>
                          <a:lnTo>
                            <a:pt x="858" y="1207"/>
                          </a:lnTo>
                          <a:lnTo>
                            <a:pt x="862" y="1198"/>
                          </a:lnTo>
                          <a:lnTo>
                            <a:pt x="864" y="1181"/>
                          </a:lnTo>
                          <a:lnTo>
                            <a:pt x="868" y="1167"/>
                          </a:lnTo>
                          <a:lnTo>
                            <a:pt x="870" y="1158"/>
                          </a:lnTo>
                          <a:lnTo>
                            <a:pt x="865" y="1156"/>
                          </a:lnTo>
                          <a:lnTo>
                            <a:pt x="864" y="1149"/>
                          </a:lnTo>
                          <a:lnTo>
                            <a:pt x="871" y="1141"/>
                          </a:lnTo>
                          <a:lnTo>
                            <a:pt x="893" y="1130"/>
                          </a:lnTo>
                          <a:lnTo>
                            <a:pt x="907" y="1124"/>
                          </a:lnTo>
                          <a:lnTo>
                            <a:pt x="914" y="1118"/>
                          </a:lnTo>
                          <a:lnTo>
                            <a:pt x="916" y="1110"/>
                          </a:lnTo>
                          <a:lnTo>
                            <a:pt x="913" y="1107"/>
                          </a:lnTo>
                          <a:lnTo>
                            <a:pt x="916" y="1098"/>
                          </a:lnTo>
                          <a:lnTo>
                            <a:pt x="916" y="1080"/>
                          </a:lnTo>
                          <a:lnTo>
                            <a:pt x="913" y="1081"/>
                          </a:lnTo>
                          <a:lnTo>
                            <a:pt x="913" y="1075"/>
                          </a:lnTo>
                          <a:lnTo>
                            <a:pt x="908" y="1064"/>
                          </a:lnTo>
                          <a:lnTo>
                            <a:pt x="900" y="1050"/>
                          </a:lnTo>
                          <a:lnTo>
                            <a:pt x="902" y="1038"/>
                          </a:lnTo>
                          <a:lnTo>
                            <a:pt x="910" y="1033"/>
                          </a:lnTo>
                          <a:lnTo>
                            <a:pt x="922" y="1021"/>
                          </a:lnTo>
                          <a:lnTo>
                            <a:pt x="928" y="1016"/>
                          </a:lnTo>
                          <a:lnTo>
                            <a:pt x="948" y="998"/>
                          </a:lnTo>
                          <a:lnTo>
                            <a:pt x="966" y="989"/>
                          </a:lnTo>
                          <a:lnTo>
                            <a:pt x="982" y="983"/>
                          </a:lnTo>
                          <a:lnTo>
                            <a:pt x="994" y="970"/>
                          </a:lnTo>
                          <a:lnTo>
                            <a:pt x="1000" y="958"/>
                          </a:lnTo>
                          <a:lnTo>
                            <a:pt x="1005" y="946"/>
                          </a:lnTo>
                          <a:lnTo>
                            <a:pt x="1002" y="938"/>
                          </a:lnTo>
                          <a:lnTo>
                            <a:pt x="1002" y="910"/>
                          </a:lnTo>
                          <a:lnTo>
                            <a:pt x="1000" y="895"/>
                          </a:lnTo>
                          <a:lnTo>
                            <a:pt x="1000" y="877"/>
                          </a:lnTo>
                          <a:lnTo>
                            <a:pt x="997" y="869"/>
                          </a:lnTo>
                          <a:lnTo>
                            <a:pt x="991" y="866"/>
                          </a:lnTo>
                          <a:lnTo>
                            <a:pt x="983" y="849"/>
                          </a:lnTo>
                          <a:lnTo>
                            <a:pt x="979" y="837"/>
                          </a:lnTo>
                          <a:lnTo>
                            <a:pt x="979" y="829"/>
                          </a:lnTo>
                          <a:lnTo>
                            <a:pt x="979" y="824"/>
                          </a:lnTo>
                          <a:lnTo>
                            <a:pt x="983" y="814"/>
                          </a:lnTo>
                          <a:lnTo>
                            <a:pt x="982" y="809"/>
                          </a:lnTo>
                          <a:lnTo>
                            <a:pt x="971" y="803"/>
                          </a:lnTo>
                          <a:lnTo>
                            <a:pt x="971" y="794"/>
                          </a:lnTo>
                          <a:lnTo>
                            <a:pt x="979" y="772"/>
                          </a:lnTo>
                          <a:lnTo>
                            <a:pt x="985" y="766"/>
                          </a:lnTo>
                          <a:lnTo>
                            <a:pt x="988" y="755"/>
                          </a:lnTo>
                          <a:lnTo>
                            <a:pt x="994" y="747"/>
                          </a:lnTo>
                          <a:lnTo>
                            <a:pt x="997" y="735"/>
                          </a:lnTo>
                          <a:lnTo>
                            <a:pt x="1003" y="734"/>
                          </a:lnTo>
                          <a:lnTo>
                            <a:pt x="1008" y="727"/>
                          </a:lnTo>
                          <a:lnTo>
                            <a:pt x="1019" y="720"/>
                          </a:lnTo>
                          <a:lnTo>
                            <a:pt x="1023" y="717"/>
                          </a:lnTo>
                          <a:lnTo>
                            <a:pt x="1028" y="707"/>
                          </a:lnTo>
                          <a:lnTo>
                            <a:pt x="1046" y="686"/>
                          </a:lnTo>
                          <a:lnTo>
                            <a:pt x="1062" y="674"/>
                          </a:lnTo>
                          <a:lnTo>
                            <a:pt x="1088" y="657"/>
                          </a:lnTo>
                          <a:lnTo>
                            <a:pt x="1104" y="643"/>
                          </a:lnTo>
                          <a:lnTo>
                            <a:pt x="1124" y="620"/>
                          </a:lnTo>
                          <a:lnTo>
                            <a:pt x="1140" y="600"/>
                          </a:lnTo>
                          <a:lnTo>
                            <a:pt x="1155" y="575"/>
                          </a:lnTo>
                          <a:lnTo>
                            <a:pt x="1166" y="552"/>
                          </a:lnTo>
                          <a:lnTo>
                            <a:pt x="1174" y="534"/>
                          </a:lnTo>
                          <a:lnTo>
                            <a:pt x="1178" y="514"/>
                          </a:lnTo>
                          <a:lnTo>
                            <a:pt x="1183" y="508"/>
                          </a:lnTo>
                          <a:lnTo>
                            <a:pt x="1181" y="498"/>
                          </a:lnTo>
                          <a:lnTo>
                            <a:pt x="1184" y="489"/>
                          </a:lnTo>
                          <a:close/>
                          <a:moveTo>
                            <a:pt x="1167" y="947"/>
                          </a:moveTo>
                          <a:lnTo>
                            <a:pt x="1172" y="955"/>
                          </a:lnTo>
                          <a:lnTo>
                            <a:pt x="1170" y="964"/>
                          </a:lnTo>
                          <a:lnTo>
                            <a:pt x="1167" y="969"/>
                          </a:lnTo>
                          <a:lnTo>
                            <a:pt x="1161" y="958"/>
                          </a:lnTo>
                          <a:lnTo>
                            <a:pt x="1158" y="964"/>
                          </a:lnTo>
                          <a:lnTo>
                            <a:pt x="1161" y="977"/>
                          </a:lnTo>
                          <a:lnTo>
                            <a:pt x="1160" y="984"/>
                          </a:lnTo>
                          <a:lnTo>
                            <a:pt x="1155" y="989"/>
                          </a:lnTo>
                          <a:lnTo>
                            <a:pt x="1154" y="1004"/>
                          </a:lnTo>
                          <a:lnTo>
                            <a:pt x="1147" y="1026"/>
                          </a:lnTo>
                          <a:lnTo>
                            <a:pt x="1140" y="1050"/>
                          </a:lnTo>
                          <a:lnTo>
                            <a:pt x="1129" y="1086"/>
                          </a:lnTo>
                          <a:lnTo>
                            <a:pt x="1121" y="1112"/>
                          </a:lnTo>
                          <a:lnTo>
                            <a:pt x="1114" y="1133"/>
                          </a:lnTo>
                          <a:lnTo>
                            <a:pt x="1100" y="1138"/>
                          </a:lnTo>
                          <a:lnTo>
                            <a:pt x="1085" y="1146"/>
                          </a:lnTo>
                          <a:lnTo>
                            <a:pt x="1075" y="1141"/>
                          </a:lnTo>
                          <a:lnTo>
                            <a:pt x="1062" y="1133"/>
                          </a:lnTo>
                          <a:lnTo>
                            <a:pt x="1057" y="1124"/>
                          </a:lnTo>
                          <a:lnTo>
                            <a:pt x="1055" y="1107"/>
                          </a:lnTo>
                          <a:lnTo>
                            <a:pt x="1049" y="1092"/>
                          </a:lnTo>
                          <a:lnTo>
                            <a:pt x="1048" y="1080"/>
                          </a:lnTo>
                          <a:lnTo>
                            <a:pt x="1051" y="1066"/>
                          </a:lnTo>
                          <a:lnTo>
                            <a:pt x="1058" y="1063"/>
                          </a:lnTo>
                          <a:lnTo>
                            <a:pt x="1058" y="1056"/>
                          </a:lnTo>
                          <a:lnTo>
                            <a:pt x="1068" y="1043"/>
                          </a:lnTo>
                          <a:lnTo>
                            <a:pt x="1069" y="1030"/>
                          </a:lnTo>
                          <a:lnTo>
                            <a:pt x="1065" y="1023"/>
                          </a:lnTo>
                          <a:lnTo>
                            <a:pt x="1062" y="1010"/>
                          </a:lnTo>
                          <a:lnTo>
                            <a:pt x="1060" y="995"/>
                          </a:lnTo>
                          <a:lnTo>
                            <a:pt x="1066" y="984"/>
                          </a:lnTo>
                          <a:lnTo>
                            <a:pt x="1069" y="973"/>
                          </a:lnTo>
                          <a:lnTo>
                            <a:pt x="1077" y="972"/>
                          </a:lnTo>
                          <a:lnTo>
                            <a:pt x="1086" y="969"/>
                          </a:lnTo>
                          <a:lnTo>
                            <a:pt x="1094" y="966"/>
                          </a:lnTo>
                          <a:lnTo>
                            <a:pt x="1100" y="966"/>
                          </a:lnTo>
                          <a:lnTo>
                            <a:pt x="1111" y="955"/>
                          </a:lnTo>
                          <a:lnTo>
                            <a:pt x="1124" y="944"/>
                          </a:lnTo>
                          <a:lnTo>
                            <a:pt x="1129" y="935"/>
                          </a:lnTo>
                          <a:lnTo>
                            <a:pt x="1127" y="927"/>
                          </a:lnTo>
                          <a:lnTo>
                            <a:pt x="1135" y="930"/>
                          </a:lnTo>
                          <a:lnTo>
                            <a:pt x="1144" y="918"/>
                          </a:lnTo>
                          <a:lnTo>
                            <a:pt x="1144" y="907"/>
                          </a:lnTo>
                          <a:lnTo>
                            <a:pt x="1151" y="900"/>
                          </a:lnTo>
                          <a:lnTo>
                            <a:pt x="1157" y="906"/>
                          </a:lnTo>
                          <a:lnTo>
                            <a:pt x="1161" y="913"/>
                          </a:lnTo>
                          <a:lnTo>
                            <a:pt x="1164" y="926"/>
                          </a:lnTo>
                          <a:lnTo>
                            <a:pt x="1167" y="947"/>
                          </a:lnTo>
                          <a:close/>
                        </a:path>
                      </a:pathLst>
                    </a:custGeom>
                    <a:solidFill>
                      <a:srgbClr val="D9D9D9"/>
                    </a:solidFill>
                    <a:ln w="4763" cap="flat">
                      <a:solidFill>
                        <a:srgbClr val="FFFFFF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endParaRPr lang="en-GB" sz="1000" dirty="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53" name="Etiquettes">
                    <a:extLst>
                      <a:ext uri="{FF2B5EF4-FFF2-40B4-BE49-F238E27FC236}">
                        <a16:creationId xmlns:a16="http://schemas.microsoft.com/office/drawing/2014/main" id="{D0BA638D-BD2A-4B1E-AD50-FDEF75B4192F}"/>
                      </a:ext>
                    </a:extLst>
                  </p:cNvPr>
                  <p:cNvGrpSpPr/>
                  <p:nvPr/>
                </p:nvGrpSpPr>
                <p:grpSpPr>
                  <a:xfrm>
                    <a:off x="3302975" y="3143638"/>
                    <a:ext cx="5734282" cy="2207829"/>
                    <a:chOff x="3302975" y="3143638"/>
                    <a:chExt cx="5734282" cy="2207829"/>
                  </a:xfrm>
                </p:grpSpPr>
                <p:sp>
                  <p:nvSpPr>
                    <p:cNvPr id="54" name="Etiquette - North America" hidden="1">
                      <a:extLst>
                        <a:ext uri="{FF2B5EF4-FFF2-40B4-BE49-F238E27FC236}">
                          <a16:creationId xmlns:a16="http://schemas.microsoft.com/office/drawing/2014/main" id="{47A3368B-754F-4B68-84F1-0CCB4B1D62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02975" y="3490260"/>
                      <a:ext cx="1160563" cy="285129"/>
                    </a:xfrm>
                    <a:prstGeom prst="rect">
                      <a:avLst/>
                    </a:prstGeom>
                  </p:spPr>
                  <p:txBody>
                    <a:bodyPr wrap="none" anchor="ctr">
                      <a:spAutoFit/>
                    </a:bodyPr>
                    <a:lstStyle/>
                    <a:p>
                      <a:pPr algn="ctr"/>
                      <a:r>
                        <a:rPr lang="en-GB" sz="1000">
                          <a:solidFill>
                            <a:srgbClr val="000000"/>
                          </a:solidFill>
                        </a:rPr>
                        <a:t>North America</a:t>
                      </a:r>
                      <a:endParaRPr lang="en-GB" sz="1000" dirty="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55" name="Etiquette - South America" hidden="1">
                      <a:extLst>
                        <a:ext uri="{FF2B5EF4-FFF2-40B4-BE49-F238E27FC236}">
                          <a16:creationId xmlns:a16="http://schemas.microsoft.com/office/drawing/2014/main" id="{7300B893-8D4F-4B59-A1D0-79201E553D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94164" y="4778245"/>
                      <a:ext cx="1182840" cy="285129"/>
                    </a:xfrm>
                    <a:prstGeom prst="rect">
                      <a:avLst/>
                    </a:prstGeom>
                  </p:spPr>
                  <p:txBody>
                    <a:bodyPr wrap="none" anchor="ctr">
                      <a:spAutoFit/>
                    </a:bodyPr>
                    <a:lstStyle/>
                    <a:p>
                      <a:pPr algn="ctr"/>
                      <a:r>
                        <a:rPr lang="en-GB" sz="1000">
                          <a:solidFill>
                            <a:srgbClr val="000000"/>
                          </a:solidFill>
                        </a:rPr>
                        <a:t>South America</a:t>
                      </a:r>
                      <a:endParaRPr lang="en-GB" sz="1000" dirty="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56" name="Etiquette - Africa" hidden="1">
                      <a:extLst>
                        <a:ext uri="{FF2B5EF4-FFF2-40B4-BE49-F238E27FC236}">
                          <a16:creationId xmlns:a16="http://schemas.microsoft.com/office/drawing/2014/main" id="{574A6E1F-19EC-43E1-AF3F-3A03425A8E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29453" y="4198621"/>
                      <a:ext cx="592534" cy="285129"/>
                    </a:xfrm>
                    <a:prstGeom prst="rect">
                      <a:avLst/>
                    </a:prstGeom>
                  </p:spPr>
                  <p:txBody>
                    <a:bodyPr wrap="none" anchor="ctr">
                      <a:spAutoFit/>
                    </a:bodyPr>
                    <a:lstStyle/>
                    <a:p>
                      <a:pPr algn="ctr"/>
                      <a:r>
                        <a:rPr lang="en-GB" sz="1000">
                          <a:solidFill>
                            <a:srgbClr val="000000"/>
                          </a:solidFill>
                        </a:rPr>
                        <a:t>Africa</a:t>
                      </a:r>
                      <a:endParaRPr lang="en-GB" sz="1000" dirty="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57" name="Etiquette - Oceania" hidden="1">
                      <a:extLst>
                        <a:ext uri="{FF2B5EF4-FFF2-40B4-BE49-F238E27FC236}">
                          <a16:creationId xmlns:a16="http://schemas.microsoft.com/office/drawing/2014/main" id="{E7C67C46-6DD1-4EEE-B0A0-FDD7D507558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73943" y="5066339"/>
                      <a:ext cx="763314" cy="285128"/>
                    </a:xfrm>
                    <a:prstGeom prst="rect">
                      <a:avLst/>
                    </a:prstGeom>
                  </p:spPr>
                  <p:txBody>
                    <a:bodyPr wrap="none" anchor="ctr">
                      <a:spAutoFit/>
                    </a:bodyPr>
                    <a:lstStyle/>
                    <a:p>
                      <a:pPr algn="ctr"/>
                      <a:r>
                        <a:rPr lang="en-GB" sz="1000">
                          <a:solidFill>
                            <a:srgbClr val="000000"/>
                          </a:solidFill>
                        </a:rPr>
                        <a:t>Oceania</a:t>
                      </a:r>
                      <a:endParaRPr lang="en-GB" sz="1000" dirty="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58" name="Etiquette - Asia" hidden="1">
                      <a:extLst>
                        <a:ext uri="{FF2B5EF4-FFF2-40B4-BE49-F238E27FC236}">
                          <a16:creationId xmlns:a16="http://schemas.microsoft.com/office/drawing/2014/main" id="{EC294FB7-AC53-4A64-ABAA-31130ADB12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08464" y="3143638"/>
                      <a:ext cx="501575" cy="285129"/>
                    </a:xfrm>
                    <a:prstGeom prst="rect">
                      <a:avLst/>
                    </a:prstGeom>
                  </p:spPr>
                  <p:txBody>
                    <a:bodyPr wrap="none" anchor="ctr">
                      <a:spAutoFit/>
                    </a:bodyPr>
                    <a:lstStyle/>
                    <a:p>
                      <a:pPr algn="ctr"/>
                      <a:r>
                        <a:rPr lang="en-GB" sz="1000">
                          <a:solidFill>
                            <a:srgbClr val="000000"/>
                          </a:solidFill>
                        </a:rPr>
                        <a:t>Asia</a:t>
                      </a:r>
                      <a:endParaRPr lang="en-GB" sz="1000" dirty="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59" name="Etiquette - Europe" hidden="1">
                      <a:extLst>
                        <a:ext uri="{FF2B5EF4-FFF2-40B4-BE49-F238E27FC236}">
                          <a16:creationId xmlns:a16="http://schemas.microsoft.com/office/drawing/2014/main" id="{E3F69CD9-2358-49C0-9BA7-918212DE93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37508" y="3364334"/>
                      <a:ext cx="689062" cy="285129"/>
                    </a:xfrm>
                    <a:prstGeom prst="rect">
                      <a:avLst/>
                    </a:prstGeom>
                  </p:spPr>
                  <p:txBody>
                    <a:bodyPr wrap="none" anchor="ctr">
                      <a:spAutoFit/>
                    </a:bodyPr>
                    <a:lstStyle/>
                    <a:p>
                      <a:pPr algn="ctr"/>
                      <a:r>
                        <a:rPr lang="en-GB" sz="1000">
                          <a:solidFill>
                            <a:srgbClr val="000000"/>
                          </a:solidFill>
                        </a:rPr>
                        <a:t>Europe</a:t>
                      </a:r>
                      <a:endParaRPr lang="en-GB" sz="1000" dirty="0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27" name="GradientColorLegend">
                  <a:extLst>
                    <a:ext uri="{FF2B5EF4-FFF2-40B4-BE49-F238E27FC236}">
                      <a16:creationId xmlns:a16="http://schemas.microsoft.com/office/drawing/2014/main" id="{10B02C50-3F51-4336-A26C-CC579C3A3D34}"/>
                    </a:ext>
                  </a:extLst>
                </p:cNvPr>
                <p:cNvGrpSpPr/>
                <p:nvPr/>
              </p:nvGrpSpPr>
              <p:grpSpPr>
                <a:xfrm>
                  <a:off x="2398087" y="4026683"/>
                  <a:ext cx="120073" cy="1748981"/>
                  <a:chOff x="1066170" y="2389407"/>
                  <a:chExt cx="120073" cy="1748981"/>
                </a:xfrm>
              </p:grpSpPr>
              <p:sp>
                <p:nvSpPr>
                  <p:cNvPr id="49" name="Etiquette - GradientColorLegend - DARK - Shape" hidden="1">
                    <a:extLst>
                      <a:ext uri="{FF2B5EF4-FFF2-40B4-BE49-F238E27FC236}">
                        <a16:creationId xmlns:a16="http://schemas.microsoft.com/office/drawing/2014/main" id="{C475FF29-1B89-4CF0-932A-A6B10F9D5652}"/>
                      </a:ext>
                    </a:extLst>
                  </p:cNvPr>
                  <p:cNvSpPr/>
                  <p:nvPr/>
                </p:nvSpPr>
                <p:spPr>
                  <a:xfrm>
                    <a:off x="1066170" y="2575168"/>
                    <a:ext cx="120073" cy="1382400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9D9D9"/>
                      </a:gs>
                      <a:gs pos="100000">
                        <a:srgbClr val="D9D9D9"/>
                      </a:gs>
                    </a:gsLst>
                    <a:lin ang="54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000" dirty="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50" name="Etiquette - GradientColorLegend - DARK - MaxValue" hidden="1">
                    <a:extLst>
                      <a:ext uri="{FF2B5EF4-FFF2-40B4-BE49-F238E27FC236}">
                        <a16:creationId xmlns:a16="http://schemas.microsoft.com/office/drawing/2014/main" id="{F7E90824-3AC3-4244-A1EF-1AD96D88E0AE}"/>
                      </a:ext>
                    </a:extLst>
                  </p:cNvPr>
                  <p:cNvSpPr txBox="1"/>
                  <p:nvPr/>
                </p:nvSpPr>
                <p:spPr>
                  <a:xfrm>
                    <a:off x="1085367" y="2389407"/>
                    <a:ext cx="81679" cy="178205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b">
                    <a:spAutoFit/>
                  </a:bodyPr>
                  <a:lstStyle/>
                  <a:p>
                    <a:pPr algn="ctr"/>
                    <a:r>
                      <a:rPr lang="en-GB" sz="1000">
                        <a:solidFill>
                          <a:prstClr val="black"/>
                        </a:solidFill>
                      </a:rPr>
                      <a:t>1</a:t>
                    </a:r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1" name="Etiquette - GradientColorLegend - DARK - MinValue" hidden="1">
                    <a:extLst>
                      <a:ext uri="{FF2B5EF4-FFF2-40B4-BE49-F238E27FC236}">
                        <a16:creationId xmlns:a16="http://schemas.microsoft.com/office/drawing/2014/main" id="{AED28895-95DD-446D-A0B4-00FADDF0B9B7}"/>
                      </a:ext>
                    </a:extLst>
                  </p:cNvPr>
                  <p:cNvSpPr txBox="1"/>
                  <p:nvPr/>
                </p:nvSpPr>
                <p:spPr>
                  <a:xfrm>
                    <a:off x="1085367" y="3960183"/>
                    <a:ext cx="81679" cy="178205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/>
                    <a:r>
                      <a:rPr lang="en-GB" sz="1000">
                        <a:solidFill>
                          <a:prstClr val="black"/>
                        </a:solidFill>
                      </a:rPr>
                      <a:t>1</a:t>
                    </a:r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28" name="RangeColorLegend">
                  <a:extLst>
                    <a:ext uri="{FF2B5EF4-FFF2-40B4-BE49-F238E27FC236}">
                      <a16:creationId xmlns:a16="http://schemas.microsoft.com/office/drawing/2014/main" id="{1E79F111-6A54-4F7F-A536-15DB506CDD35}"/>
                    </a:ext>
                  </a:extLst>
                </p:cNvPr>
                <p:cNvGrpSpPr/>
                <p:nvPr/>
              </p:nvGrpSpPr>
              <p:grpSpPr>
                <a:xfrm>
                  <a:off x="1892976" y="4504938"/>
                  <a:ext cx="1270800" cy="1538880"/>
                  <a:chOff x="9228362" y="4919762"/>
                  <a:chExt cx="1270800" cy="1538880"/>
                </a:xfrm>
              </p:grpSpPr>
              <p:sp>
                <p:nvSpPr>
                  <p:cNvPr id="29" name="Etiquette - RangeColorLegend - DARK - Color - 2" hidden="1">
                    <a:extLst>
                      <a:ext uri="{FF2B5EF4-FFF2-40B4-BE49-F238E27FC236}">
                        <a16:creationId xmlns:a16="http://schemas.microsoft.com/office/drawing/2014/main" id="{F6CE497B-26F8-4249-8928-42F5DCF835F6}"/>
                      </a:ext>
                    </a:extLst>
                  </p:cNvPr>
                  <p:cNvSpPr/>
                  <p:nvPr/>
                </p:nvSpPr>
                <p:spPr>
                  <a:xfrm>
                    <a:off x="9228362" y="5073650"/>
                    <a:ext cx="154800" cy="153888"/>
                  </a:xfrm>
                  <a:prstGeom prst="rect">
                    <a:avLst/>
                  </a:prstGeom>
                  <a:solidFill>
                    <a:srgbClr val="FA6414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" name="Etiquette - RangeColorLegend - DARK - Color - 1" hidden="1">
                    <a:extLst>
                      <a:ext uri="{FF2B5EF4-FFF2-40B4-BE49-F238E27FC236}">
                        <a16:creationId xmlns:a16="http://schemas.microsoft.com/office/drawing/2014/main" id="{04233E78-81D5-4DC5-862C-6B926E3F1F8F}"/>
                      </a:ext>
                    </a:extLst>
                  </p:cNvPr>
                  <p:cNvSpPr/>
                  <p:nvPr/>
                </p:nvSpPr>
                <p:spPr>
                  <a:xfrm>
                    <a:off x="9228362" y="4919762"/>
                    <a:ext cx="154800" cy="153888"/>
                  </a:xfrm>
                  <a:prstGeom prst="rect">
                    <a:avLst/>
                  </a:prstGeom>
                  <a:solidFill>
                    <a:srgbClr val="FBF315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1" name="Etiquette - RangeColorLegend - DARK - Number - 2" hidden="1">
                    <a:extLst>
                      <a:ext uri="{FF2B5EF4-FFF2-40B4-BE49-F238E27FC236}">
                        <a16:creationId xmlns:a16="http://schemas.microsoft.com/office/drawing/2014/main" id="{F1D78213-A7BA-467B-87AD-F7F27EA6989A}"/>
                      </a:ext>
                    </a:extLst>
                  </p:cNvPr>
                  <p:cNvSpPr/>
                  <p:nvPr/>
                </p:nvSpPr>
                <p:spPr>
                  <a:xfrm>
                    <a:off x="9383162" y="5073650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GB" sz="1000">
                        <a:solidFill>
                          <a:prstClr val="black"/>
                        </a:solidFill>
                      </a:rPr>
                      <a:t>&lt; 1</a:t>
                    </a:r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2" name="Etiquette - RangeColorLegend - DARK - Number - 1" hidden="1">
                    <a:extLst>
                      <a:ext uri="{FF2B5EF4-FFF2-40B4-BE49-F238E27FC236}">
                        <a16:creationId xmlns:a16="http://schemas.microsoft.com/office/drawing/2014/main" id="{19CD5265-D88C-45DA-939C-88B33001A64A}"/>
                      </a:ext>
                    </a:extLst>
                  </p:cNvPr>
                  <p:cNvSpPr/>
                  <p:nvPr/>
                </p:nvSpPr>
                <p:spPr>
                  <a:xfrm>
                    <a:off x="9383162" y="4919762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GB" sz="1000">
                        <a:solidFill>
                          <a:prstClr val="black"/>
                        </a:solidFill>
                      </a:rPr>
                      <a:t>1+</a:t>
                    </a:r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3" name="Etiquette - RangeColorLegend - DARK - Color - 4" hidden="1">
                    <a:extLst>
                      <a:ext uri="{FF2B5EF4-FFF2-40B4-BE49-F238E27FC236}">
                        <a16:creationId xmlns:a16="http://schemas.microsoft.com/office/drawing/2014/main" id="{D1482D3E-5E1E-43B8-B01C-876314AC0540}"/>
                      </a:ext>
                    </a:extLst>
                  </p:cNvPr>
                  <p:cNvSpPr/>
                  <p:nvPr/>
                </p:nvSpPr>
                <p:spPr>
                  <a:xfrm>
                    <a:off x="9228362" y="5381426"/>
                    <a:ext cx="154800" cy="153888"/>
                  </a:xfrm>
                  <a:prstGeom prst="rect">
                    <a:avLst/>
                  </a:prstGeom>
                  <a:solidFill>
                    <a:srgbClr val="FFC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4" name="Etiquette - RangeColorLegend - DARK - Color - 3" hidden="1">
                    <a:extLst>
                      <a:ext uri="{FF2B5EF4-FFF2-40B4-BE49-F238E27FC236}">
                        <a16:creationId xmlns:a16="http://schemas.microsoft.com/office/drawing/2014/main" id="{CE85C03C-07DF-4772-B467-FC97BD3332A3}"/>
                      </a:ext>
                    </a:extLst>
                  </p:cNvPr>
                  <p:cNvSpPr/>
                  <p:nvPr/>
                </p:nvSpPr>
                <p:spPr>
                  <a:xfrm>
                    <a:off x="9228362" y="5227538"/>
                    <a:ext cx="154800" cy="153888"/>
                  </a:xfrm>
                  <a:prstGeom prst="rect">
                    <a:avLst/>
                  </a:prstGeom>
                  <a:solidFill>
                    <a:srgbClr val="FFFF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5" name="Etiquette - RangeColorLegend - DARK - Number - 4" hidden="1">
                    <a:extLst>
                      <a:ext uri="{FF2B5EF4-FFF2-40B4-BE49-F238E27FC236}">
                        <a16:creationId xmlns:a16="http://schemas.microsoft.com/office/drawing/2014/main" id="{0566287C-AF6A-471A-9D46-958DC0059A06}"/>
                      </a:ext>
                    </a:extLst>
                  </p:cNvPr>
                  <p:cNvSpPr/>
                  <p:nvPr/>
                </p:nvSpPr>
                <p:spPr>
                  <a:xfrm>
                    <a:off x="9383162" y="5381426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GB" sz="1000">
                        <a:solidFill>
                          <a:prstClr val="black"/>
                        </a:solidFill>
                      </a:rPr>
                      <a:t>[300 to 400[</a:t>
                    </a:r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6" name="Etiquette - RangeColorLegend - DARK - Number - 3" hidden="1">
                    <a:extLst>
                      <a:ext uri="{FF2B5EF4-FFF2-40B4-BE49-F238E27FC236}">
                        <a16:creationId xmlns:a16="http://schemas.microsoft.com/office/drawing/2014/main" id="{7B2C0DD2-2432-410D-B199-47E11206BAA6}"/>
                      </a:ext>
                    </a:extLst>
                  </p:cNvPr>
                  <p:cNvSpPr/>
                  <p:nvPr/>
                </p:nvSpPr>
                <p:spPr>
                  <a:xfrm>
                    <a:off x="9383162" y="5227538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GB" sz="1000">
                        <a:solidFill>
                          <a:prstClr val="black"/>
                        </a:solidFill>
                      </a:rPr>
                      <a:t>[200 to 300[</a:t>
                    </a:r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7" name="Etiquette - RangeColorLegend - DARK - Color - 5" hidden="1">
                    <a:extLst>
                      <a:ext uri="{FF2B5EF4-FFF2-40B4-BE49-F238E27FC236}">
                        <a16:creationId xmlns:a16="http://schemas.microsoft.com/office/drawing/2014/main" id="{E05FBFEF-2966-4C76-A3FB-24C49EE26411}"/>
                      </a:ext>
                    </a:extLst>
                  </p:cNvPr>
                  <p:cNvSpPr/>
                  <p:nvPr/>
                </p:nvSpPr>
                <p:spPr>
                  <a:xfrm>
                    <a:off x="9228362" y="5535314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" name="Etiquette - RangeColorLegend - DARK - Number - 5" hidden="1">
                    <a:extLst>
                      <a:ext uri="{FF2B5EF4-FFF2-40B4-BE49-F238E27FC236}">
                        <a16:creationId xmlns:a16="http://schemas.microsoft.com/office/drawing/2014/main" id="{917F0808-5FC2-4420-BF6B-227CECCD8C45}"/>
                      </a:ext>
                    </a:extLst>
                  </p:cNvPr>
                  <p:cNvSpPr/>
                  <p:nvPr/>
                </p:nvSpPr>
                <p:spPr>
                  <a:xfrm>
                    <a:off x="9383162" y="5535314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GB" sz="1000">
                        <a:solidFill>
                          <a:prstClr val="black"/>
                        </a:solidFill>
                      </a:rPr>
                      <a:t>400+</a:t>
                    </a:r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9" name="Etiquette - RangeColorLegend - DARK - Color - 6" hidden="1">
                    <a:extLst>
                      <a:ext uri="{FF2B5EF4-FFF2-40B4-BE49-F238E27FC236}">
                        <a16:creationId xmlns:a16="http://schemas.microsoft.com/office/drawing/2014/main" id="{BE67366A-20E8-45EA-AD8B-388468069164}"/>
                      </a:ext>
                    </a:extLst>
                  </p:cNvPr>
                  <p:cNvSpPr/>
                  <p:nvPr/>
                </p:nvSpPr>
                <p:spPr>
                  <a:xfrm>
                    <a:off x="9228362" y="5689202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0" name="Etiquette - RangeColorLegend - DARK - Number - 6" hidden="1">
                    <a:extLst>
                      <a:ext uri="{FF2B5EF4-FFF2-40B4-BE49-F238E27FC236}">
                        <a16:creationId xmlns:a16="http://schemas.microsoft.com/office/drawing/2014/main" id="{0468D760-9CB3-400D-AFCB-F51F7BA8A31C}"/>
                      </a:ext>
                    </a:extLst>
                  </p:cNvPr>
                  <p:cNvSpPr/>
                  <p:nvPr/>
                </p:nvSpPr>
                <p:spPr>
                  <a:xfrm>
                    <a:off x="9383162" y="5689202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GB" sz="1000">
                        <a:solidFill>
                          <a:prstClr val="black"/>
                        </a:solidFill>
                      </a:rPr>
                      <a:t>400+</a:t>
                    </a:r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" name="Etiquette - RangeColorLegend - DARK - Color - 7" hidden="1">
                    <a:extLst>
                      <a:ext uri="{FF2B5EF4-FFF2-40B4-BE49-F238E27FC236}">
                        <a16:creationId xmlns:a16="http://schemas.microsoft.com/office/drawing/2014/main" id="{773314BE-7D6A-4138-83B4-064AD3D902C8}"/>
                      </a:ext>
                    </a:extLst>
                  </p:cNvPr>
                  <p:cNvSpPr/>
                  <p:nvPr/>
                </p:nvSpPr>
                <p:spPr>
                  <a:xfrm>
                    <a:off x="9228362" y="5843090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" name="Etiquette - RangeColorLegend - DARK - Number - 7" hidden="1">
                    <a:extLst>
                      <a:ext uri="{FF2B5EF4-FFF2-40B4-BE49-F238E27FC236}">
                        <a16:creationId xmlns:a16="http://schemas.microsoft.com/office/drawing/2014/main" id="{04994AFA-1836-43A2-A3FF-EC964E54093B}"/>
                      </a:ext>
                    </a:extLst>
                  </p:cNvPr>
                  <p:cNvSpPr/>
                  <p:nvPr/>
                </p:nvSpPr>
                <p:spPr>
                  <a:xfrm>
                    <a:off x="9383162" y="5843090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GB" sz="1000">
                        <a:solidFill>
                          <a:prstClr val="black"/>
                        </a:solidFill>
                      </a:rPr>
                      <a:t>400+</a:t>
                    </a:r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3" name="Etiquette - RangeColorLegend - DARK - Color - 8" hidden="1">
                    <a:extLst>
                      <a:ext uri="{FF2B5EF4-FFF2-40B4-BE49-F238E27FC236}">
                        <a16:creationId xmlns:a16="http://schemas.microsoft.com/office/drawing/2014/main" id="{BE77618A-987F-455B-9A1A-68EA9B7E2F26}"/>
                      </a:ext>
                    </a:extLst>
                  </p:cNvPr>
                  <p:cNvSpPr/>
                  <p:nvPr/>
                </p:nvSpPr>
                <p:spPr>
                  <a:xfrm>
                    <a:off x="9228362" y="5996978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4" name="Etiquette - RangeColorLegend - DARK - Number - 8" hidden="1">
                    <a:extLst>
                      <a:ext uri="{FF2B5EF4-FFF2-40B4-BE49-F238E27FC236}">
                        <a16:creationId xmlns:a16="http://schemas.microsoft.com/office/drawing/2014/main" id="{2B698008-5699-4446-A0E3-612FA54B8E49}"/>
                      </a:ext>
                    </a:extLst>
                  </p:cNvPr>
                  <p:cNvSpPr/>
                  <p:nvPr/>
                </p:nvSpPr>
                <p:spPr>
                  <a:xfrm>
                    <a:off x="9383162" y="5996978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GB" sz="1000">
                        <a:solidFill>
                          <a:prstClr val="black"/>
                        </a:solidFill>
                      </a:rPr>
                      <a:t>400+</a:t>
                    </a:r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5" name="Etiquette - RangeColorLegend - DARK - Color - 9" hidden="1">
                    <a:extLst>
                      <a:ext uri="{FF2B5EF4-FFF2-40B4-BE49-F238E27FC236}">
                        <a16:creationId xmlns:a16="http://schemas.microsoft.com/office/drawing/2014/main" id="{7442365B-0990-48CF-9C39-F5F5226F6F0F}"/>
                      </a:ext>
                    </a:extLst>
                  </p:cNvPr>
                  <p:cNvSpPr/>
                  <p:nvPr/>
                </p:nvSpPr>
                <p:spPr>
                  <a:xfrm>
                    <a:off x="9228362" y="6150866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6" name="Etiquette - RangeColorLegend - DARK - Number - 9" hidden="1">
                    <a:extLst>
                      <a:ext uri="{FF2B5EF4-FFF2-40B4-BE49-F238E27FC236}">
                        <a16:creationId xmlns:a16="http://schemas.microsoft.com/office/drawing/2014/main" id="{66585576-4AE5-4A71-87E4-A8D9DB64123B}"/>
                      </a:ext>
                    </a:extLst>
                  </p:cNvPr>
                  <p:cNvSpPr/>
                  <p:nvPr/>
                </p:nvSpPr>
                <p:spPr>
                  <a:xfrm>
                    <a:off x="9383162" y="6150866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GB" sz="1000">
                        <a:solidFill>
                          <a:prstClr val="black"/>
                        </a:solidFill>
                      </a:rPr>
                      <a:t>400+</a:t>
                    </a:r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7" name="Etiquette - RangeColorLegend - DARK - Color - 10" hidden="1">
                    <a:extLst>
                      <a:ext uri="{FF2B5EF4-FFF2-40B4-BE49-F238E27FC236}">
                        <a16:creationId xmlns:a16="http://schemas.microsoft.com/office/drawing/2014/main" id="{C29C7DB8-93DE-4145-BDFC-20181930FB0E}"/>
                      </a:ext>
                    </a:extLst>
                  </p:cNvPr>
                  <p:cNvSpPr/>
                  <p:nvPr/>
                </p:nvSpPr>
                <p:spPr>
                  <a:xfrm>
                    <a:off x="9228362" y="6304754"/>
                    <a:ext cx="154800" cy="153888"/>
                  </a:xfrm>
                  <a:prstGeom prst="rect">
                    <a:avLst/>
                  </a:prstGeom>
                  <a:solidFill>
                    <a:srgbClr val="FF0000"/>
                  </a:solidFill>
                  <a:ln>
                    <a:solidFill>
                      <a:schemeClr val="tx1"/>
                    </a:solidFill>
                  </a:ln>
                </p:spPr>
                <p:txBody>
                  <a:bodyPr wrap="square" lIns="0" tIns="0" rIns="0" bIns="0" anchor="ctr">
                    <a:noAutofit/>
                  </a:bodyPr>
                  <a:lstStyle/>
                  <a:p>
                    <a:pPr algn="ctr"/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8" name="Etiquette - RangeColorLegend - DARK - Number - 10" hidden="1">
                    <a:extLst>
                      <a:ext uri="{FF2B5EF4-FFF2-40B4-BE49-F238E27FC236}">
                        <a16:creationId xmlns:a16="http://schemas.microsoft.com/office/drawing/2014/main" id="{48098955-3DCE-4433-B04F-AF8A3A005AA5}"/>
                      </a:ext>
                    </a:extLst>
                  </p:cNvPr>
                  <p:cNvSpPr/>
                  <p:nvPr/>
                </p:nvSpPr>
                <p:spPr>
                  <a:xfrm>
                    <a:off x="9383162" y="6304754"/>
                    <a:ext cx="1116000" cy="153888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lIns="72000" tIns="0" rIns="0" bIns="0" anchor="ctr">
                    <a:noAutofit/>
                  </a:bodyPr>
                  <a:lstStyle/>
                  <a:p>
                    <a:r>
                      <a:rPr lang="en-GB" sz="1000">
                        <a:solidFill>
                          <a:prstClr val="black"/>
                        </a:solidFill>
                      </a:rPr>
                      <a:t>400+</a:t>
                    </a:r>
                    <a:endParaRPr lang="en-GB" sz="1000" dirty="0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sp>
            <p:nvSpPr>
              <p:cNvPr id="25" name="POWER_USER_DATA_MAP_STORAGE">
                <a:extLst>
                  <a:ext uri="{FF2B5EF4-FFF2-40B4-BE49-F238E27FC236}">
                    <a16:creationId xmlns:a16="http://schemas.microsoft.com/office/drawing/2014/main" id="{1BCF299B-D2B4-4194-AEC1-286E8C4D3C56}"/>
                  </a:ext>
                </a:extLst>
              </p:cNvPr>
              <p:cNvSpPr/>
              <p:nvPr/>
            </p:nvSpPr>
            <p:spPr>
              <a:xfrm>
                <a:off x="618837" y="1676786"/>
                <a:ext cx="0" cy="0"/>
              </a:xfrm>
              <a:prstGeom prst="rect">
                <a:avLst/>
              </a:prstGeom>
              <a:solidFill>
                <a:schemeClr val="accent1"/>
              </a:solidFill>
              <a:ln w="127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 anchorCtr="0">
                <a:noAutofit/>
              </a:bodyPr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BD98782-EC5D-473F-BB74-370B31A59A2F}"/>
                </a:ext>
              </a:extLst>
            </p:cNvPr>
            <p:cNvSpPr/>
            <p:nvPr/>
          </p:nvSpPr>
          <p:spPr>
            <a:xfrm>
              <a:off x="3034521" y="1624336"/>
              <a:ext cx="3167610" cy="58522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" name="Arrow10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EB8003D7-DDBB-4CF3-8484-70A4DAF688BE}"/>
                </a:ext>
              </a:extLst>
            </p:cNvPr>
            <p:cNvSpPr>
              <a:spLocks noChangeAspect="1"/>
            </p:cNvSpPr>
            <p:nvPr/>
          </p:nvSpPr>
          <p:spPr bwMode="auto">
            <a:xfrm rot="14616096" flipH="1">
              <a:off x="4654819" y="2565113"/>
              <a:ext cx="1070722" cy="1476516"/>
            </a:xfrm>
            <a:custGeom>
              <a:avLst/>
              <a:gdLst>
                <a:gd name="T0" fmla="*/ 657 w 952"/>
                <a:gd name="T1" fmla="*/ 1166 h 1430"/>
                <a:gd name="T2" fmla="*/ 637 w 952"/>
                <a:gd name="T3" fmla="*/ 1160 h 1430"/>
                <a:gd name="T4" fmla="*/ 614 w 952"/>
                <a:gd name="T5" fmla="*/ 1151 h 1430"/>
                <a:gd name="T6" fmla="*/ 591 w 952"/>
                <a:gd name="T7" fmla="*/ 1142 h 1430"/>
                <a:gd name="T8" fmla="*/ 490 w 952"/>
                <a:gd name="T9" fmla="*/ 1095 h 1430"/>
                <a:gd name="T10" fmla="*/ 267 w 952"/>
                <a:gd name="T11" fmla="*/ 923 h 1430"/>
                <a:gd name="T12" fmla="*/ 171 w 952"/>
                <a:gd name="T13" fmla="*/ 796 h 1430"/>
                <a:gd name="T14" fmla="*/ 106 w 952"/>
                <a:gd name="T15" fmla="*/ 645 h 1430"/>
                <a:gd name="T16" fmla="*/ 90 w 952"/>
                <a:gd name="T17" fmla="*/ 564 h 1430"/>
                <a:gd name="T18" fmla="*/ 89 w 952"/>
                <a:gd name="T19" fmla="*/ 482 h 1430"/>
                <a:gd name="T20" fmla="*/ 100 w 952"/>
                <a:gd name="T21" fmla="*/ 402 h 1430"/>
                <a:gd name="T22" fmla="*/ 111 w 952"/>
                <a:gd name="T23" fmla="*/ 364 h 1430"/>
                <a:gd name="T24" fmla="*/ 113 w 952"/>
                <a:gd name="T25" fmla="*/ 359 h 1430"/>
                <a:gd name="T26" fmla="*/ 113 w 952"/>
                <a:gd name="T27" fmla="*/ 358 h 1430"/>
                <a:gd name="T28" fmla="*/ 113 w 952"/>
                <a:gd name="T29" fmla="*/ 359 h 1430"/>
                <a:gd name="T30" fmla="*/ 113 w 952"/>
                <a:gd name="T31" fmla="*/ 358 h 1430"/>
                <a:gd name="T32" fmla="*/ 114 w 952"/>
                <a:gd name="T33" fmla="*/ 355 h 1430"/>
                <a:gd name="T34" fmla="*/ 118 w 952"/>
                <a:gd name="T35" fmla="*/ 345 h 1430"/>
                <a:gd name="T36" fmla="*/ 126 w 952"/>
                <a:gd name="T37" fmla="*/ 326 h 1430"/>
                <a:gd name="T38" fmla="*/ 143 w 952"/>
                <a:gd name="T39" fmla="*/ 291 h 1430"/>
                <a:gd name="T40" fmla="*/ 162 w 952"/>
                <a:gd name="T41" fmla="*/ 258 h 1430"/>
                <a:gd name="T42" fmla="*/ 184 w 952"/>
                <a:gd name="T43" fmla="*/ 227 h 1430"/>
                <a:gd name="T44" fmla="*/ 208 w 952"/>
                <a:gd name="T45" fmla="*/ 198 h 1430"/>
                <a:gd name="T46" fmla="*/ 314 w 952"/>
                <a:gd name="T47" fmla="*/ 107 h 1430"/>
                <a:gd name="T48" fmla="*/ 420 w 952"/>
                <a:gd name="T49" fmla="*/ 50 h 1430"/>
                <a:gd name="T50" fmla="*/ 467 w 952"/>
                <a:gd name="T51" fmla="*/ 31 h 1430"/>
                <a:gd name="T52" fmla="*/ 509 w 952"/>
                <a:gd name="T53" fmla="*/ 18 h 1430"/>
                <a:gd name="T54" fmla="*/ 542 w 952"/>
                <a:gd name="T55" fmla="*/ 9 h 1430"/>
                <a:gd name="T56" fmla="*/ 568 w 952"/>
                <a:gd name="T57" fmla="*/ 4 h 1430"/>
                <a:gd name="T58" fmla="*/ 589 w 952"/>
                <a:gd name="T59" fmla="*/ 0 h 1430"/>
                <a:gd name="T60" fmla="*/ 567 w 952"/>
                <a:gd name="T61" fmla="*/ 2 h 1430"/>
                <a:gd name="T62" fmla="*/ 541 w 952"/>
                <a:gd name="T63" fmla="*/ 5 h 1430"/>
                <a:gd name="T64" fmla="*/ 507 w 952"/>
                <a:gd name="T65" fmla="*/ 10 h 1430"/>
                <a:gd name="T66" fmla="*/ 464 w 952"/>
                <a:gd name="T67" fmla="*/ 19 h 1430"/>
                <a:gd name="T68" fmla="*/ 414 w 952"/>
                <a:gd name="T69" fmla="*/ 32 h 1430"/>
                <a:gd name="T70" fmla="*/ 298 w 952"/>
                <a:gd name="T71" fmla="*/ 80 h 1430"/>
                <a:gd name="T72" fmla="*/ 175 w 952"/>
                <a:gd name="T73" fmla="*/ 165 h 1430"/>
                <a:gd name="T74" fmla="*/ 69 w 952"/>
                <a:gd name="T75" fmla="*/ 299 h 1430"/>
                <a:gd name="T76" fmla="*/ 59 w 952"/>
                <a:gd name="T77" fmla="*/ 318 h 1430"/>
                <a:gd name="T78" fmla="*/ 54 w 952"/>
                <a:gd name="T79" fmla="*/ 327 h 1430"/>
                <a:gd name="T80" fmla="*/ 53 w 952"/>
                <a:gd name="T81" fmla="*/ 330 h 1430"/>
                <a:gd name="T82" fmla="*/ 52 w 952"/>
                <a:gd name="T83" fmla="*/ 331 h 1430"/>
                <a:gd name="T84" fmla="*/ 51 w 952"/>
                <a:gd name="T85" fmla="*/ 333 h 1430"/>
                <a:gd name="T86" fmla="*/ 49 w 952"/>
                <a:gd name="T87" fmla="*/ 339 h 1430"/>
                <a:gd name="T88" fmla="*/ 31 w 952"/>
                <a:gd name="T89" fmla="*/ 382 h 1430"/>
                <a:gd name="T90" fmla="*/ 8 w 952"/>
                <a:gd name="T91" fmla="*/ 473 h 1430"/>
                <a:gd name="T92" fmla="*/ 0 w 952"/>
                <a:gd name="T93" fmla="*/ 569 h 1430"/>
                <a:gd name="T94" fmla="*/ 8 w 952"/>
                <a:gd name="T95" fmla="*/ 666 h 1430"/>
                <a:gd name="T96" fmla="*/ 65 w 952"/>
                <a:gd name="T97" fmla="*/ 850 h 1430"/>
                <a:gd name="T98" fmla="*/ 161 w 952"/>
                <a:gd name="T99" fmla="*/ 1010 h 1430"/>
                <a:gd name="T100" fmla="*/ 401 w 952"/>
                <a:gd name="T101" fmla="*/ 1238 h 1430"/>
                <a:gd name="T102" fmla="*/ 516 w 952"/>
                <a:gd name="T103" fmla="*/ 1308 h 1430"/>
                <a:gd name="T104" fmla="*/ 541 w 952"/>
                <a:gd name="T105" fmla="*/ 1320 h 1430"/>
                <a:gd name="T106" fmla="*/ 563 w 952"/>
                <a:gd name="T107" fmla="*/ 1332 h 1430"/>
                <a:gd name="T108" fmla="*/ 605 w 952"/>
                <a:gd name="T109" fmla="*/ 1350 h 1430"/>
                <a:gd name="T110" fmla="*/ 582 w 952"/>
                <a:gd name="T111" fmla="*/ 1430 h 1430"/>
                <a:gd name="T112" fmla="*/ 952 w 952"/>
                <a:gd name="T113" fmla="*/ 1337 h 1430"/>
                <a:gd name="T114" fmla="*/ 687 w 952"/>
                <a:gd name="T115" fmla="*/ 1063 h 1430"/>
                <a:gd name="T116" fmla="*/ 657 w 952"/>
                <a:gd name="T117" fmla="*/ 116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2" h="1430">
                  <a:moveTo>
                    <a:pt x="657" y="1166"/>
                  </a:moveTo>
                  <a:cubicBezTo>
                    <a:pt x="651" y="1164"/>
                    <a:pt x="644" y="1162"/>
                    <a:pt x="637" y="1160"/>
                  </a:cubicBezTo>
                  <a:cubicBezTo>
                    <a:pt x="630" y="1157"/>
                    <a:pt x="622" y="1154"/>
                    <a:pt x="614" y="1151"/>
                  </a:cubicBezTo>
                  <a:cubicBezTo>
                    <a:pt x="606" y="1148"/>
                    <a:pt x="598" y="1145"/>
                    <a:pt x="591" y="1142"/>
                  </a:cubicBezTo>
                  <a:cubicBezTo>
                    <a:pt x="562" y="1131"/>
                    <a:pt x="526" y="1114"/>
                    <a:pt x="490" y="1095"/>
                  </a:cubicBezTo>
                  <a:cubicBezTo>
                    <a:pt x="417" y="1056"/>
                    <a:pt x="337" y="999"/>
                    <a:pt x="267" y="923"/>
                  </a:cubicBezTo>
                  <a:cubicBezTo>
                    <a:pt x="231" y="885"/>
                    <a:pt x="199" y="842"/>
                    <a:pt x="171" y="796"/>
                  </a:cubicBezTo>
                  <a:cubicBezTo>
                    <a:pt x="143" y="749"/>
                    <a:pt x="120" y="698"/>
                    <a:pt x="106" y="645"/>
                  </a:cubicBezTo>
                  <a:cubicBezTo>
                    <a:pt x="99" y="618"/>
                    <a:pt x="94" y="591"/>
                    <a:pt x="90" y="564"/>
                  </a:cubicBezTo>
                  <a:cubicBezTo>
                    <a:pt x="88" y="537"/>
                    <a:pt x="87" y="509"/>
                    <a:pt x="89" y="482"/>
                  </a:cubicBezTo>
                  <a:cubicBezTo>
                    <a:pt x="90" y="455"/>
                    <a:pt x="94" y="428"/>
                    <a:pt x="100" y="402"/>
                  </a:cubicBezTo>
                  <a:cubicBezTo>
                    <a:pt x="103" y="389"/>
                    <a:pt x="107" y="376"/>
                    <a:pt x="111" y="364"/>
                  </a:cubicBezTo>
                  <a:lnTo>
                    <a:pt x="113" y="359"/>
                  </a:lnTo>
                  <a:lnTo>
                    <a:pt x="113" y="358"/>
                  </a:lnTo>
                  <a:cubicBezTo>
                    <a:pt x="113" y="358"/>
                    <a:pt x="112" y="360"/>
                    <a:pt x="113" y="359"/>
                  </a:cubicBezTo>
                  <a:lnTo>
                    <a:pt x="113" y="358"/>
                  </a:lnTo>
                  <a:lnTo>
                    <a:pt x="114" y="355"/>
                  </a:lnTo>
                  <a:lnTo>
                    <a:pt x="118" y="345"/>
                  </a:lnTo>
                  <a:lnTo>
                    <a:pt x="126" y="326"/>
                  </a:lnTo>
                  <a:cubicBezTo>
                    <a:pt x="131" y="314"/>
                    <a:pt x="137" y="303"/>
                    <a:pt x="143" y="291"/>
                  </a:cubicBezTo>
                  <a:cubicBezTo>
                    <a:pt x="149" y="280"/>
                    <a:pt x="156" y="269"/>
                    <a:pt x="162" y="258"/>
                  </a:cubicBezTo>
                  <a:cubicBezTo>
                    <a:pt x="170" y="247"/>
                    <a:pt x="177" y="237"/>
                    <a:pt x="184" y="227"/>
                  </a:cubicBezTo>
                  <a:cubicBezTo>
                    <a:pt x="192" y="217"/>
                    <a:pt x="200" y="207"/>
                    <a:pt x="208" y="198"/>
                  </a:cubicBezTo>
                  <a:cubicBezTo>
                    <a:pt x="241" y="161"/>
                    <a:pt x="277" y="131"/>
                    <a:pt x="314" y="107"/>
                  </a:cubicBezTo>
                  <a:cubicBezTo>
                    <a:pt x="351" y="83"/>
                    <a:pt x="387" y="64"/>
                    <a:pt x="420" y="50"/>
                  </a:cubicBezTo>
                  <a:cubicBezTo>
                    <a:pt x="437" y="43"/>
                    <a:pt x="453" y="37"/>
                    <a:pt x="467" y="31"/>
                  </a:cubicBezTo>
                  <a:cubicBezTo>
                    <a:pt x="482" y="27"/>
                    <a:pt x="496" y="22"/>
                    <a:pt x="509" y="18"/>
                  </a:cubicBezTo>
                  <a:cubicBezTo>
                    <a:pt x="521" y="15"/>
                    <a:pt x="532" y="12"/>
                    <a:pt x="542" y="9"/>
                  </a:cubicBezTo>
                  <a:cubicBezTo>
                    <a:pt x="552" y="7"/>
                    <a:pt x="561" y="6"/>
                    <a:pt x="568" y="4"/>
                  </a:cubicBezTo>
                  <a:cubicBezTo>
                    <a:pt x="581" y="1"/>
                    <a:pt x="589" y="0"/>
                    <a:pt x="589" y="0"/>
                  </a:cubicBezTo>
                  <a:cubicBezTo>
                    <a:pt x="589" y="0"/>
                    <a:pt x="581" y="0"/>
                    <a:pt x="567" y="2"/>
                  </a:cubicBezTo>
                  <a:cubicBezTo>
                    <a:pt x="560" y="3"/>
                    <a:pt x="552" y="3"/>
                    <a:pt x="541" y="5"/>
                  </a:cubicBezTo>
                  <a:cubicBezTo>
                    <a:pt x="531" y="6"/>
                    <a:pt x="520" y="8"/>
                    <a:pt x="507" y="10"/>
                  </a:cubicBezTo>
                  <a:cubicBezTo>
                    <a:pt x="494" y="12"/>
                    <a:pt x="479" y="15"/>
                    <a:pt x="464" y="19"/>
                  </a:cubicBezTo>
                  <a:cubicBezTo>
                    <a:pt x="448" y="23"/>
                    <a:pt x="431" y="27"/>
                    <a:pt x="414" y="32"/>
                  </a:cubicBezTo>
                  <a:cubicBezTo>
                    <a:pt x="378" y="43"/>
                    <a:pt x="339" y="59"/>
                    <a:pt x="298" y="80"/>
                  </a:cubicBezTo>
                  <a:cubicBezTo>
                    <a:pt x="257" y="101"/>
                    <a:pt x="215" y="129"/>
                    <a:pt x="175" y="165"/>
                  </a:cubicBezTo>
                  <a:cubicBezTo>
                    <a:pt x="135" y="202"/>
                    <a:pt x="99" y="245"/>
                    <a:pt x="69" y="299"/>
                  </a:cubicBezTo>
                  <a:lnTo>
                    <a:pt x="59" y="318"/>
                  </a:lnTo>
                  <a:lnTo>
                    <a:pt x="54" y="327"/>
                  </a:lnTo>
                  <a:lnTo>
                    <a:pt x="53" y="330"/>
                  </a:lnTo>
                  <a:lnTo>
                    <a:pt x="52" y="331"/>
                  </a:lnTo>
                  <a:lnTo>
                    <a:pt x="51" y="333"/>
                  </a:lnTo>
                  <a:lnTo>
                    <a:pt x="49" y="339"/>
                  </a:lnTo>
                  <a:cubicBezTo>
                    <a:pt x="42" y="353"/>
                    <a:pt x="36" y="367"/>
                    <a:pt x="31" y="382"/>
                  </a:cubicBezTo>
                  <a:cubicBezTo>
                    <a:pt x="21" y="411"/>
                    <a:pt x="13" y="441"/>
                    <a:pt x="8" y="473"/>
                  </a:cubicBezTo>
                  <a:cubicBezTo>
                    <a:pt x="2" y="504"/>
                    <a:pt x="0" y="537"/>
                    <a:pt x="0" y="569"/>
                  </a:cubicBezTo>
                  <a:cubicBezTo>
                    <a:pt x="1" y="601"/>
                    <a:pt x="3" y="634"/>
                    <a:pt x="8" y="666"/>
                  </a:cubicBezTo>
                  <a:cubicBezTo>
                    <a:pt x="19" y="730"/>
                    <a:pt x="39" y="792"/>
                    <a:pt x="65" y="850"/>
                  </a:cubicBezTo>
                  <a:cubicBezTo>
                    <a:pt x="92" y="908"/>
                    <a:pt x="125" y="962"/>
                    <a:pt x="161" y="1010"/>
                  </a:cubicBezTo>
                  <a:cubicBezTo>
                    <a:pt x="234" y="1108"/>
                    <a:pt x="321" y="1183"/>
                    <a:pt x="401" y="1238"/>
                  </a:cubicBezTo>
                  <a:cubicBezTo>
                    <a:pt x="442" y="1266"/>
                    <a:pt x="478" y="1288"/>
                    <a:pt x="516" y="1308"/>
                  </a:cubicBezTo>
                  <a:cubicBezTo>
                    <a:pt x="525" y="1313"/>
                    <a:pt x="533" y="1317"/>
                    <a:pt x="541" y="1320"/>
                  </a:cubicBezTo>
                  <a:cubicBezTo>
                    <a:pt x="548" y="1324"/>
                    <a:pt x="556" y="1328"/>
                    <a:pt x="563" y="1332"/>
                  </a:cubicBezTo>
                  <a:cubicBezTo>
                    <a:pt x="578" y="1338"/>
                    <a:pt x="592" y="1344"/>
                    <a:pt x="605" y="1350"/>
                  </a:cubicBezTo>
                  <a:lnTo>
                    <a:pt x="582" y="1430"/>
                  </a:lnTo>
                  <a:lnTo>
                    <a:pt x="952" y="1337"/>
                  </a:lnTo>
                  <a:lnTo>
                    <a:pt x="687" y="1063"/>
                  </a:lnTo>
                  <a:lnTo>
                    <a:pt x="657" y="1166"/>
                  </a:lnTo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Arrow12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8DD01B68-1C6B-4437-B26E-E4F17A0E34EC}"/>
                </a:ext>
              </a:extLst>
            </p:cNvPr>
            <p:cNvSpPr>
              <a:spLocks noChangeAspect="1"/>
            </p:cNvSpPr>
            <p:nvPr/>
          </p:nvSpPr>
          <p:spPr bwMode="auto">
            <a:xfrm rot="6262158">
              <a:off x="3050354" y="2465992"/>
              <a:ext cx="1137522" cy="1904770"/>
            </a:xfrm>
            <a:custGeom>
              <a:avLst/>
              <a:gdLst>
                <a:gd name="T0" fmla="*/ 657 w 952"/>
                <a:gd name="T1" fmla="*/ 1166 h 1430"/>
                <a:gd name="T2" fmla="*/ 637 w 952"/>
                <a:gd name="T3" fmla="*/ 1160 h 1430"/>
                <a:gd name="T4" fmla="*/ 614 w 952"/>
                <a:gd name="T5" fmla="*/ 1151 h 1430"/>
                <a:gd name="T6" fmla="*/ 591 w 952"/>
                <a:gd name="T7" fmla="*/ 1142 h 1430"/>
                <a:gd name="T8" fmla="*/ 490 w 952"/>
                <a:gd name="T9" fmla="*/ 1095 h 1430"/>
                <a:gd name="T10" fmla="*/ 267 w 952"/>
                <a:gd name="T11" fmla="*/ 923 h 1430"/>
                <a:gd name="T12" fmla="*/ 171 w 952"/>
                <a:gd name="T13" fmla="*/ 796 h 1430"/>
                <a:gd name="T14" fmla="*/ 106 w 952"/>
                <a:gd name="T15" fmla="*/ 645 h 1430"/>
                <a:gd name="T16" fmla="*/ 90 w 952"/>
                <a:gd name="T17" fmla="*/ 564 h 1430"/>
                <a:gd name="T18" fmla="*/ 89 w 952"/>
                <a:gd name="T19" fmla="*/ 482 h 1430"/>
                <a:gd name="T20" fmla="*/ 100 w 952"/>
                <a:gd name="T21" fmla="*/ 402 h 1430"/>
                <a:gd name="T22" fmla="*/ 111 w 952"/>
                <a:gd name="T23" fmla="*/ 364 h 1430"/>
                <a:gd name="T24" fmla="*/ 113 w 952"/>
                <a:gd name="T25" fmla="*/ 359 h 1430"/>
                <a:gd name="T26" fmla="*/ 113 w 952"/>
                <a:gd name="T27" fmla="*/ 358 h 1430"/>
                <a:gd name="T28" fmla="*/ 113 w 952"/>
                <a:gd name="T29" fmla="*/ 359 h 1430"/>
                <a:gd name="T30" fmla="*/ 113 w 952"/>
                <a:gd name="T31" fmla="*/ 358 h 1430"/>
                <a:gd name="T32" fmla="*/ 114 w 952"/>
                <a:gd name="T33" fmla="*/ 355 h 1430"/>
                <a:gd name="T34" fmla="*/ 118 w 952"/>
                <a:gd name="T35" fmla="*/ 345 h 1430"/>
                <a:gd name="T36" fmla="*/ 126 w 952"/>
                <a:gd name="T37" fmla="*/ 326 h 1430"/>
                <a:gd name="T38" fmla="*/ 143 w 952"/>
                <a:gd name="T39" fmla="*/ 291 h 1430"/>
                <a:gd name="T40" fmla="*/ 162 w 952"/>
                <a:gd name="T41" fmla="*/ 258 h 1430"/>
                <a:gd name="T42" fmla="*/ 184 w 952"/>
                <a:gd name="T43" fmla="*/ 227 h 1430"/>
                <a:gd name="T44" fmla="*/ 208 w 952"/>
                <a:gd name="T45" fmla="*/ 198 h 1430"/>
                <a:gd name="T46" fmla="*/ 314 w 952"/>
                <a:gd name="T47" fmla="*/ 107 h 1430"/>
                <a:gd name="T48" fmla="*/ 420 w 952"/>
                <a:gd name="T49" fmla="*/ 50 h 1430"/>
                <a:gd name="T50" fmla="*/ 467 w 952"/>
                <a:gd name="T51" fmla="*/ 31 h 1430"/>
                <a:gd name="T52" fmla="*/ 509 w 952"/>
                <a:gd name="T53" fmla="*/ 18 h 1430"/>
                <a:gd name="T54" fmla="*/ 542 w 952"/>
                <a:gd name="T55" fmla="*/ 9 h 1430"/>
                <a:gd name="T56" fmla="*/ 568 w 952"/>
                <a:gd name="T57" fmla="*/ 4 h 1430"/>
                <a:gd name="T58" fmla="*/ 589 w 952"/>
                <a:gd name="T59" fmla="*/ 0 h 1430"/>
                <a:gd name="T60" fmla="*/ 567 w 952"/>
                <a:gd name="T61" fmla="*/ 2 h 1430"/>
                <a:gd name="T62" fmla="*/ 541 w 952"/>
                <a:gd name="T63" fmla="*/ 5 h 1430"/>
                <a:gd name="T64" fmla="*/ 507 w 952"/>
                <a:gd name="T65" fmla="*/ 10 h 1430"/>
                <a:gd name="T66" fmla="*/ 464 w 952"/>
                <a:gd name="T67" fmla="*/ 19 h 1430"/>
                <a:gd name="T68" fmla="*/ 414 w 952"/>
                <a:gd name="T69" fmla="*/ 32 h 1430"/>
                <a:gd name="T70" fmla="*/ 298 w 952"/>
                <a:gd name="T71" fmla="*/ 80 h 1430"/>
                <a:gd name="T72" fmla="*/ 175 w 952"/>
                <a:gd name="T73" fmla="*/ 165 h 1430"/>
                <a:gd name="T74" fmla="*/ 69 w 952"/>
                <a:gd name="T75" fmla="*/ 299 h 1430"/>
                <a:gd name="T76" fmla="*/ 59 w 952"/>
                <a:gd name="T77" fmla="*/ 318 h 1430"/>
                <a:gd name="T78" fmla="*/ 54 w 952"/>
                <a:gd name="T79" fmla="*/ 327 h 1430"/>
                <a:gd name="T80" fmla="*/ 53 w 952"/>
                <a:gd name="T81" fmla="*/ 330 h 1430"/>
                <a:gd name="T82" fmla="*/ 52 w 952"/>
                <a:gd name="T83" fmla="*/ 331 h 1430"/>
                <a:gd name="T84" fmla="*/ 51 w 952"/>
                <a:gd name="T85" fmla="*/ 333 h 1430"/>
                <a:gd name="T86" fmla="*/ 49 w 952"/>
                <a:gd name="T87" fmla="*/ 339 h 1430"/>
                <a:gd name="T88" fmla="*/ 31 w 952"/>
                <a:gd name="T89" fmla="*/ 382 h 1430"/>
                <a:gd name="T90" fmla="*/ 8 w 952"/>
                <a:gd name="T91" fmla="*/ 473 h 1430"/>
                <a:gd name="T92" fmla="*/ 0 w 952"/>
                <a:gd name="T93" fmla="*/ 569 h 1430"/>
                <a:gd name="T94" fmla="*/ 8 w 952"/>
                <a:gd name="T95" fmla="*/ 666 h 1430"/>
                <a:gd name="T96" fmla="*/ 65 w 952"/>
                <a:gd name="T97" fmla="*/ 850 h 1430"/>
                <a:gd name="T98" fmla="*/ 161 w 952"/>
                <a:gd name="T99" fmla="*/ 1010 h 1430"/>
                <a:gd name="T100" fmla="*/ 401 w 952"/>
                <a:gd name="T101" fmla="*/ 1238 h 1430"/>
                <a:gd name="T102" fmla="*/ 516 w 952"/>
                <a:gd name="T103" fmla="*/ 1308 h 1430"/>
                <a:gd name="T104" fmla="*/ 541 w 952"/>
                <a:gd name="T105" fmla="*/ 1320 h 1430"/>
                <a:gd name="T106" fmla="*/ 563 w 952"/>
                <a:gd name="T107" fmla="*/ 1332 h 1430"/>
                <a:gd name="T108" fmla="*/ 605 w 952"/>
                <a:gd name="T109" fmla="*/ 1350 h 1430"/>
                <a:gd name="T110" fmla="*/ 582 w 952"/>
                <a:gd name="T111" fmla="*/ 1430 h 1430"/>
                <a:gd name="T112" fmla="*/ 952 w 952"/>
                <a:gd name="T113" fmla="*/ 1337 h 1430"/>
                <a:gd name="T114" fmla="*/ 687 w 952"/>
                <a:gd name="T115" fmla="*/ 1063 h 1430"/>
                <a:gd name="T116" fmla="*/ 657 w 952"/>
                <a:gd name="T117" fmla="*/ 116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2" h="1430">
                  <a:moveTo>
                    <a:pt x="657" y="1166"/>
                  </a:moveTo>
                  <a:cubicBezTo>
                    <a:pt x="651" y="1164"/>
                    <a:pt x="644" y="1162"/>
                    <a:pt x="637" y="1160"/>
                  </a:cubicBezTo>
                  <a:cubicBezTo>
                    <a:pt x="630" y="1157"/>
                    <a:pt x="622" y="1154"/>
                    <a:pt x="614" y="1151"/>
                  </a:cubicBezTo>
                  <a:cubicBezTo>
                    <a:pt x="606" y="1148"/>
                    <a:pt x="598" y="1145"/>
                    <a:pt x="591" y="1142"/>
                  </a:cubicBezTo>
                  <a:cubicBezTo>
                    <a:pt x="562" y="1131"/>
                    <a:pt x="526" y="1114"/>
                    <a:pt x="490" y="1095"/>
                  </a:cubicBezTo>
                  <a:cubicBezTo>
                    <a:pt x="417" y="1056"/>
                    <a:pt x="337" y="999"/>
                    <a:pt x="267" y="923"/>
                  </a:cubicBezTo>
                  <a:cubicBezTo>
                    <a:pt x="231" y="885"/>
                    <a:pt x="199" y="842"/>
                    <a:pt x="171" y="796"/>
                  </a:cubicBezTo>
                  <a:cubicBezTo>
                    <a:pt x="143" y="749"/>
                    <a:pt x="120" y="698"/>
                    <a:pt x="106" y="645"/>
                  </a:cubicBezTo>
                  <a:cubicBezTo>
                    <a:pt x="99" y="618"/>
                    <a:pt x="94" y="591"/>
                    <a:pt x="90" y="564"/>
                  </a:cubicBezTo>
                  <a:cubicBezTo>
                    <a:pt x="88" y="537"/>
                    <a:pt x="87" y="509"/>
                    <a:pt x="89" y="482"/>
                  </a:cubicBezTo>
                  <a:cubicBezTo>
                    <a:pt x="90" y="455"/>
                    <a:pt x="94" y="428"/>
                    <a:pt x="100" y="402"/>
                  </a:cubicBezTo>
                  <a:cubicBezTo>
                    <a:pt x="103" y="389"/>
                    <a:pt x="107" y="376"/>
                    <a:pt x="111" y="364"/>
                  </a:cubicBezTo>
                  <a:lnTo>
                    <a:pt x="113" y="359"/>
                  </a:lnTo>
                  <a:lnTo>
                    <a:pt x="113" y="358"/>
                  </a:lnTo>
                  <a:cubicBezTo>
                    <a:pt x="113" y="358"/>
                    <a:pt x="112" y="360"/>
                    <a:pt x="113" y="359"/>
                  </a:cubicBezTo>
                  <a:lnTo>
                    <a:pt x="113" y="358"/>
                  </a:lnTo>
                  <a:lnTo>
                    <a:pt x="114" y="355"/>
                  </a:lnTo>
                  <a:lnTo>
                    <a:pt x="118" y="345"/>
                  </a:lnTo>
                  <a:lnTo>
                    <a:pt x="126" y="326"/>
                  </a:lnTo>
                  <a:cubicBezTo>
                    <a:pt x="131" y="314"/>
                    <a:pt x="137" y="303"/>
                    <a:pt x="143" y="291"/>
                  </a:cubicBezTo>
                  <a:cubicBezTo>
                    <a:pt x="149" y="280"/>
                    <a:pt x="156" y="269"/>
                    <a:pt x="162" y="258"/>
                  </a:cubicBezTo>
                  <a:cubicBezTo>
                    <a:pt x="170" y="247"/>
                    <a:pt x="177" y="237"/>
                    <a:pt x="184" y="227"/>
                  </a:cubicBezTo>
                  <a:cubicBezTo>
                    <a:pt x="192" y="217"/>
                    <a:pt x="200" y="207"/>
                    <a:pt x="208" y="198"/>
                  </a:cubicBezTo>
                  <a:cubicBezTo>
                    <a:pt x="241" y="161"/>
                    <a:pt x="277" y="131"/>
                    <a:pt x="314" y="107"/>
                  </a:cubicBezTo>
                  <a:cubicBezTo>
                    <a:pt x="351" y="83"/>
                    <a:pt x="387" y="64"/>
                    <a:pt x="420" y="50"/>
                  </a:cubicBezTo>
                  <a:cubicBezTo>
                    <a:pt x="437" y="43"/>
                    <a:pt x="453" y="37"/>
                    <a:pt x="467" y="31"/>
                  </a:cubicBezTo>
                  <a:cubicBezTo>
                    <a:pt x="482" y="27"/>
                    <a:pt x="496" y="22"/>
                    <a:pt x="509" y="18"/>
                  </a:cubicBezTo>
                  <a:cubicBezTo>
                    <a:pt x="521" y="15"/>
                    <a:pt x="532" y="12"/>
                    <a:pt x="542" y="9"/>
                  </a:cubicBezTo>
                  <a:cubicBezTo>
                    <a:pt x="552" y="7"/>
                    <a:pt x="561" y="6"/>
                    <a:pt x="568" y="4"/>
                  </a:cubicBezTo>
                  <a:cubicBezTo>
                    <a:pt x="581" y="1"/>
                    <a:pt x="589" y="0"/>
                    <a:pt x="589" y="0"/>
                  </a:cubicBezTo>
                  <a:cubicBezTo>
                    <a:pt x="589" y="0"/>
                    <a:pt x="581" y="0"/>
                    <a:pt x="567" y="2"/>
                  </a:cubicBezTo>
                  <a:cubicBezTo>
                    <a:pt x="560" y="3"/>
                    <a:pt x="552" y="3"/>
                    <a:pt x="541" y="5"/>
                  </a:cubicBezTo>
                  <a:cubicBezTo>
                    <a:pt x="531" y="6"/>
                    <a:pt x="520" y="8"/>
                    <a:pt x="507" y="10"/>
                  </a:cubicBezTo>
                  <a:cubicBezTo>
                    <a:pt x="494" y="12"/>
                    <a:pt x="479" y="15"/>
                    <a:pt x="464" y="19"/>
                  </a:cubicBezTo>
                  <a:cubicBezTo>
                    <a:pt x="448" y="23"/>
                    <a:pt x="431" y="27"/>
                    <a:pt x="414" y="32"/>
                  </a:cubicBezTo>
                  <a:cubicBezTo>
                    <a:pt x="378" y="43"/>
                    <a:pt x="339" y="59"/>
                    <a:pt x="298" y="80"/>
                  </a:cubicBezTo>
                  <a:cubicBezTo>
                    <a:pt x="257" y="101"/>
                    <a:pt x="215" y="129"/>
                    <a:pt x="175" y="165"/>
                  </a:cubicBezTo>
                  <a:cubicBezTo>
                    <a:pt x="135" y="202"/>
                    <a:pt x="99" y="245"/>
                    <a:pt x="69" y="299"/>
                  </a:cubicBezTo>
                  <a:lnTo>
                    <a:pt x="59" y="318"/>
                  </a:lnTo>
                  <a:lnTo>
                    <a:pt x="54" y="327"/>
                  </a:lnTo>
                  <a:lnTo>
                    <a:pt x="53" y="330"/>
                  </a:lnTo>
                  <a:lnTo>
                    <a:pt x="52" y="331"/>
                  </a:lnTo>
                  <a:lnTo>
                    <a:pt x="51" y="333"/>
                  </a:lnTo>
                  <a:lnTo>
                    <a:pt x="49" y="339"/>
                  </a:lnTo>
                  <a:cubicBezTo>
                    <a:pt x="42" y="353"/>
                    <a:pt x="36" y="367"/>
                    <a:pt x="31" y="382"/>
                  </a:cubicBezTo>
                  <a:cubicBezTo>
                    <a:pt x="21" y="411"/>
                    <a:pt x="13" y="441"/>
                    <a:pt x="8" y="473"/>
                  </a:cubicBezTo>
                  <a:cubicBezTo>
                    <a:pt x="2" y="504"/>
                    <a:pt x="0" y="537"/>
                    <a:pt x="0" y="569"/>
                  </a:cubicBezTo>
                  <a:cubicBezTo>
                    <a:pt x="1" y="601"/>
                    <a:pt x="3" y="634"/>
                    <a:pt x="8" y="666"/>
                  </a:cubicBezTo>
                  <a:cubicBezTo>
                    <a:pt x="19" y="730"/>
                    <a:pt x="39" y="792"/>
                    <a:pt x="65" y="850"/>
                  </a:cubicBezTo>
                  <a:cubicBezTo>
                    <a:pt x="92" y="908"/>
                    <a:pt x="125" y="962"/>
                    <a:pt x="161" y="1010"/>
                  </a:cubicBezTo>
                  <a:cubicBezTo>
                    <a:pt x="234" y="1108"/>
                    <a:pt x="321" y="1183"/>
                    <a:pt x="401" y="1238"/>
                  </a:cubicBezTo>
                  <a:cubicBezTo>
                    <a:pt x="442" y="1266"/>
                    <a:pt x="478" y="1288"/>
                    <a:pt x="516" y="1308"/>
                  </a:cubicBezTo>
                  <a:cubicBezTo>
                    <a:pt x="525" y="1313"/>
                    <a:pt x="533" y="1317"/>
                    <a:pt x="541" y="1320"/>
                  </a:cubicBezTo>
                  <a:cubicBezTo>
                    <a:pt x="548" y="1324"/>
                    <a:pt x="556" y="1328"/>
                    <a:pt x="563" y="1332"/>
                  </a:cubicBezTo>
                  <a:cubicBezTo>
                    <a:pt x="578" y="1338"/>
                    <a:pt x="592" y="1344"/>
                    <a:pt x="605" y="1350"/>
                  </a:cubicBezTo>
                  <a:lnTo>
                    <a:pt x="582" y="1430"/>
                  </a:lnTo>
                  <a:lnTo>
                    <a:pt x="952" y="1337"/>
                  </a:lnTo>
                  <a:lnTo>
                    <a:pt x="687" y="1063"/>
                  </a:lnTo>
                  <a:lnTo>
                    <a:pt x="657" y="1166"/>
                  </a:lnTo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5F72467B-B017-4A45-A150-69D76E2F84F6}"/>
                </a:ext>
              </a:extLst>
            </p:cNvPr>
            <p:cNvSpPr txBox="1"/>
            <p:nvPr/>
          </p:nvSpPr>
          <p:spPr>
            <a:xfrm>
              <a:off x="2859908" y="2505290"/>
              <a:ext cx="133495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100" b="1">
                  <a:solidFill>
                    <a:schemeClr val="tx2"/>
                  </a:solidFill>
                </a:rPr>
                <a:t>66% to US</a:t>
              </a:r>
              <a:endParaRPr lang="en-GB" sz="1100" b="1" dirty="0">
                <a:solidFill>
                  <a:schemeClr val="tx2"/>
                </a:solidFill>
              </a:endParaRPr>
            </a:p>
          </p:txBody>
        </p: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6F9D5C87-CABA-4E7F-8AE1-3BB942037AF7}"/>
                </a:ext>
              </a:extLst>
            </p:cNvPr>
            <p:cNvSpPr txBox="1"/>
            <p:nvPr/>
          </p:nvSpPr>
          <p:spPr>
            <a:xfrm>
              <a:off x="3378163" y="1699361"/>
              <a:ext cx="2763380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>
                  <a:solidFill>
                    <a:schemeClr val="bg1"/>
                  </a:solidFill>
                </a:rPr>
                <a:t>27,267 tons of Ti revert exported by EU + UK</a:t>
              </a:r>
              <a:endParaRPr lang="en-GB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Arrow11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52116FA8-7EBE-42FC-BAFD-456839721C16}"/>
                </a:ext>
              </a:extLst>
            </p:cNvPr>
            <p:cNvSpPr>
              <a:spLocks noChangeAspect="1"/>
            </p:cNvSpPr>
            <p:nvPr/>
          </p:nvSpPr>
          <p:spPr bwMode="auto">
            <a:xfrm rot="5969214" flipH="1" flipV="1">
              <a:off x="3249213" y="3143628"/>
              <a:ext cx="770842" cy="1824445"/>
            </a:xfrm>
            <a:custGeom>
              <a:avLst/>
              <a:gdLst>
                <a:gd name="T0" fmla="*/ 657 w 952"/>
                <a:gd name="T1" fmla="*/ 1166 h 1430"/>
                <a:gd name="T2" fmla="*/ 637 w 952"/>
                <a:gd name="T3" fmla="*/ 1160 h 1430"/>
                <a:gd name="T4" fmla="*/ 614 w 952"/>
                <a:gd name="T5" fmla="*/ 1151 h 1430"/>
                <a:gd name="T6" fmla="*/ 591 w 952"/>
                <a:gd name="T7" fmla="*/ 1142 h 1430"/>
                <a:gd name="T8" fmla="*/ 490 w 952"/>
                <a:gd name="T9" fmla="*/ 1095 h 1430"/>
                <a:gd name="T10" fmla="*/ 267 w 952"/>
                <a:gd name="T11" fmla="*/ 923 h 1430"/>
                <a:gd name="T12" fmla="*/ 171 w 952"/>
                <a:gd name="T13" fmla="*/ 796 h 1430"/>
                <a:gd name="T14" fmla="*/ 106 w 952"/>
                <a:gd name="T15" fmla="*/ 645 h 1430"/>
                <a:gd name="T16" fmla="*/ 90 w 952"/>
                <a:gd name="T17" fmla="*/ 564 h 1430"/>
                <a:gd name="T18" fmla="*/ 89 w 952"/>
                <a:gd name="T19" fmla="*/ 482 h 1430"/>
                <a:gd name="T20" fmla="*/ 100 w 952"/>
                <a:gd name="T21" fmla="*/ 402 h 1430"/>
                <a:gd name="T22" fmla="*/ 111 w 952"/>
                <a:gd name="T23" fmla="*/ 364 h 1430"/>
                <a:gd name="T24" fmla="*/ 113 w 952"/>
                <a:gd name="T25" fmla="*/ 359 h 1430"/>
                <a:gd name="T26" fmla="*/ 113 w 952"/>
                <a:gd name="T27" fmla="*/ 358 h 1430"/>
                <a:gd name="T28" fmla="*/ 113 w 952"/>
                <a:gd name="T29" fmla="*/ 359 h 1430"/>
                <a:gd name="T30" fmla="*/ 113 w 952"/>
                <a:gd name="T31" fmla="*/ 358 h 1430"/>
                <a:gd name="T32" fmla="*/ 114 w 952"/>
                <a:gd name="T33" fmla="*/ 355 h 1430"/>
                <a:gd name="T34" fmla="*/ 118 w 952"/>
                <a:gd name="T35" fmla="*/ 345 h 1430"/>
                <a:gd name="T36" fmla="*/ 126 w 952"/>
                <a:gd name="T37" fmla="*/ 326 h 1430"/>
                <a:gd name="T38" fmla="*/ 143 w 952"/>
                <a:gd name="T39" fmla="*/ 291 h 1430"/>
                <a:gd name="T40" fmla="*/ 162 w 952"/>
                <a:gd name="T41" fmla="*/ 258 h 1430"/>
                <a:gd name="T42" fmla="*/ 184 w 952"/>
                <a:gd name="T43" fmla="*/ 227 h 1430"/>
                <a:gd name="T44" fmla="*/ 208 w 952"/>
                <a:gd name="T45" fmla="*/ 198 h 1430"/>
                <a:gd name="T46" fmla="*/ 314 w 952"/>
                <a:gd name="T47" fmla="*/ 107 h 1430"/>
                <a:gd name="T48" fmla="*/ 420 w 952"/>
                <a:gd name="T49" fmla="*/ 50 h 1430"/>
                <a:gd name="T50" fmla="*/ 467 w 952"/>
                <a:gd name="T51" fmla="*/ 31 h 1430"/>
                <a:gd name="T52" fmla="*/ 509 w 952"/>
                <a:gd name="T53" fmla="*/ 18 h 1430"/>
                <a:gd name="T54" fmla="*/ 542 w 952"/>
                <a:gd name="T55" fmla="*/ 9 h 1430"/>
                <a:gd name="T56" fmla="*/ 568 w 952"/>
                <a:gd name="T57" fmla="*/ 4 h 1430"/>
                <a:gd name="T58" fmla="*/ 589 w 952"/>
                <a:gd name="T59" fmla="*/ 0 h 1430"/>
                <a:gd name="T60" fmla="*/ 567 w 952"/>
                <a:gd name="T61" fmla="*/ 2 h 1430"/>
                <a:gd name="T62" fmla="*/ 541 w 952"/>
                <a:gd name="T63" fmla="*/ 5 h 1430"/>
                <a:gd name="T64" fmla="*/ 507 w 952"/>
                <a:gd name="T65" fmla="*/ 10 h 1430"/>
                <a:gd name="T66" fmla="*/ 464 w 952"/>
                <a:gd name="T67" fmla="*/ 19 h 1430"/>
                <a:gd name="T68" fmla="*/ 414 w 952"/>
                <a:gd name="T69" fmla="*/ 32 h 1430"/>
                <a:gd name="T70" fmla="*/ 298 w 952"/>
                <a:gd name="T71" fmla="*/ 80 h 1430"/>
                <a:gd name="T72" fmla="*/ 175 w 952"/>
                <a:gd name="T73" fmla="*/ 165 h 1430"/>
                <a:gd name="T74" fmla="*/ 69 w 952"/>
                <a:gd name="T75" fmla="*/ 299 h 1430"/>
                <a:gd name="T76" fmla="*/ 59 w 952"/>
                <a:gd name="T77" fmla="*/ 318 h 1430"/>
                <a:gd name="T78" fmla="*/ 54 w 952"/>
                <a:gd name="T79" fmla="*/ 327 h 1430"/>
                <a:gd name="T80" fmla="*/ 53 w 952"/>
                <a:gd name="T81" fmla="*/ 330 h 1430"/>
                <a:gd name="T82" fmla="*/ 52 w 952"/>
                <a:gd name="T83" fmla="*/ 331 h 1430"/>
                <a:gd name="T84" fmla="*/ 51 w 952"/>
                <a:gd name="T85" fmla="*/ 333 h 1430"/>
                <a:gd name="T86" fmla="*/ 49 w 952"/>
                <a:gd name="T87" fmla="*/ 339 h 1430"/>
                <a:gd name="T88" fmla="*/ 31 w 952"/>
                <a:gd name="T89" fmla="*/ 382 h 1430"/>
                <a:gd name="T90" fmla="*/ 8 w 952"/>
                <a:gd name="T91" fmla="*/ 473 h 1430"/>
                <a:gd name="T92" fmla="*/ 0 w 952"/>
                <a:gd name="T93" fmla="*/ 569 h 1430"/>
                <a:gd name="T94" fmla="*/ 8 w 952"/>
                <a:gd name="T95" fmla="*/ 666 h 1430"/>
                <a:gd name="T96" fmla="*/ 65 w 952"/>
                <a:gd name="T97" fmla="*/ 850 h 1430"/>
                <a:gd name="T98" fmla="*/ 161 w 952"/>
                <a:gd name="T99" fmla="*/ 1010 h 1430"/>
                <a:gd name="T100" fmla="*/ 401 w 952"/>
                <a:gd name="T101" fmla="*/ 1238 h 1430"/>
                <a:gd name="T102" fmla="*/ 516 w 952"/>
                <a:gd name="T103" fmla="*/ 1308 h 1430"/>
                <a:gd name="T104" fmla="*/ 541 w 952"/>
                <a:gd name="T105" fmla="*/ 1320 h 1430"/>
                <a:gd name="T106" fmla="*/ 563 w 952"/>
                <a:gd name="T107" fmla="*/ 1332 h 1430"/>
                <a:gd name="T108" fmla="*/ 605 w 952"/>
                <a:gd name="T109" fmla="*/ 1350 h 1430"/>
                <a:gd name="T110" fmla="*/ 582 w 952"/>
                <a:gd name="T111" fmla="*/ 1430 h 1430"/>
                <a:gd name="T112" fmla="*/ 952 w 952"/>
                <a:gd name="T113" fmla="*/ 1337 h 1430"/>
                <a:gd name="T114" fmla="*/ 687 w 952"/>
                <a:gd name="T115" fmla="*/ 1063 h 1430"/>
                <a:gd name="T116" fmla="*/ 657 w 952"/>
                <a:gd name="T117" fmla="*/ 116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2" h="1430">
                  <a:moveTo>
                    <a:pt x="657" y="1166"/>
                  </a:moveTo>
                  <a:cubicBezTo>
                    <a:pt x="651" y="1164"/>
                    <a:pt x="644" y="1162"/>
                    <a:pt x="637" y="1160"/>
                  </a:cubicBezTo>
                  <a:cubicBezTo>
                    <a:pt x="630" y="1157"/>
                    <a:pt x="622" y="1154"/>
                    <a:pt x="614" y="1151"/>
                  </a:cubicBezTo>
                  <a:cubicBezTo>
                    <a:pt x="606" y="1148"/>
                    <a:pt x="598" y="1145"/>
                    <a:pt x="591" y="1142"/>
                  </a:cubicBezTo>
                  <a:cubicBezTo>
                    <a:pt x="562" y="1131"/>
                    <a:pt x="526" y="1114"/>
                    <a:pt x="490" y="1095"/>
                  </a:cubicBezTo>
                  <a:cubicBezTo>
                    <a:pt x="417" y="1056"/>
                    <a:pt x="337" y="999"/>
                    <a:pt x="267" y="923"/>
                  </a:cubicBezTo>
                  <a:cubicBezTo>
                    <a:pt x="231" y="885"/>
                    <a:pt x="199" y="842"/>
                    <a:pt x="171" y="796"/>
                  </a:cubicBezTo>
                  <a:cubicBezTo>
                    <a:pt x="143" y="749"/>
                    <a:pt x="120" y="698"/>
                    <a:pt x="106" y="645"/>
                  </a:cubicBezTo>
                  <a:cubicBezTo>
                    <a:pt x="99" y="618"/>
                    <a:pt x="94" y="591"/>
                    <a:pt x="90" y="564"/>
                  </a:cubicBezTo>
                  <a:cubicBezTo>
                    <a:pt x="88" y="537"/>
                    <a:pt x="87" y="509"/>
                    <a:pt x="89" y="482"/>
                  </a:cubicBezTo>
                  <a:cubicBezTo>
                    <a:pt x="90" y="455"/>
                    <a:pt x="94" y="428"/>
                    <a:pt x="100" y="402"/>
                  </a:cubicBezTo>
                  <a:cubicBezTo>
                    <a:pt x="103" y="389"/>
                    <a:pt x="107" y="376"/>
                    <a:pt x="111" y="364"/>
                  </a:cubicBezTo>
                  <a:lnTo>
                    <a:pt x="113" y="359"/>
                  </a:lnTo>
                  <a:lnTo>
                    <a:pt x="113" y="358"/>
                  </a:lnTo>
                  <a:cubicBezTo>
                    <a:pt x="113" y="358"/>
                    <a:pt x="112" y="360"/>
                    <a:pt x="113" y="359"/>
                  </a:cubicBezTo>
                  <a:lnTo>
                    <a:pt x="113" y="358"/>
                  </a:lnTo>
                  <a:lnTo>
                    <a:pt x="114" y="355"/>
                  </a:lnTo>
                  <a:lnTo>
                    <a:pt x="118" y="345"/>
                  </a:lnTo>
                  <a:lnTo>
                    <a:pt x="126" y="326"/>
                  </a:lnTo>
                  <a:cubicBezTo>
                    <a:pt x="131" y="314"/>
                    <a:pt x="137" y="303"/>
                    <a:pt x="143" y="291"/>
                  </a:cubicBezTo>
                  <a:cubicBezTo>
                    <a:pt x="149" y="280"/>
                    <a:pt x="156" y="269"/>
                    <a:pt x="162" y="258"/>
                  </a:cubicBezTo>
                  <a:cubicBezTo>
                    <a:pt x="170" y="247"/>
                    <a:pt x="177" y="237"/>
                    <a:pt x="184" y="227"/>
                  </a:cubicBezTo>
                  <a:cubicBezTo>
                    <a:pt x="192" y="217"/>
                    <a:pt x="200" y="207"/>
                    <a:pt x="208" y="198"/>
                  </a:cubicBezTo>
                  <a:cubicBezTo>
                    <a:pt x="241" y="161"/>
                    <a:pt x="277" y="131"/>
                    <a:pt x="314" y="107"/>
                  </a:cubicBezTo>
                  <a:cubicBezTo>
                    <a:pt x="351" y="83"/>
                    <a:pt x="387" y="64"/>
                    <a:pt x="420" y="50"/>
                  </a:cubicBezTo>
                  <a:cubicBezTo>
                    <a:pt x="437" y="43"/>
                    <a:pt x="453" y="37"/>
                    <a:pt x="467" y="31"/>
                  </a:cubicBezTo>
                  <a:cubicBezTo>
                    <a:pt x="482" y="27"/>
                    <a:pt x="496" y="22"/>
                    <a:pt x="509" y="18"/>
                  </a:cubicBezTo>
                  <a:cubicBezTo>
                    <a:pt x="521" y="15"/>
                    <a:pt x="532" y="12"/>
                    <a:pt x="542" y="9"/>
                  </a:cubicBezTo>
                  <a:cubicBezTo>
                    <a:pt x="552" y="7"/>
                    <a:pt x="561" y="6"/>
                    <a:pt x="568" y="4"/>
                  </a:cubicBezTo>
                  <a:cubicBezTo>
                    <a:pt x="581" y="1"/>
                    <a:pt x="589" y="0"/>
                    <a:pt x="589" y="0"/>
                  </a:cubicBezTo>
                  <a:cubicBezTo>
                    <a:pt x="589" y="0"/>
                    <a:pt x="581" y="0"/>
                    <a:pt x="567" y="2"/>
                  </a:cubicBezTo>
                  <a:cubicBezTo>
                    <a:pt x="560" y="3"/>
                    <a:pt x="552" y="3"/>
                    <a:pt x="541" y="5"/>
                  </a:cubicBezTo>
                  <a:cubicBezTo>
                    <a:pt x="531" y="6"/>
                    <a:pt x="520" y="8"/>
                    <a:pt x="507" y="10"/>
                  </a:cubicBezTo>
                  <a:cubicBezTo>
                    <a:pt x="494" y="12"/>
                    <a:pt x="479" y="15"/>
                    <a:pt x="464" y="19"/>
                  </a:cubicBezTo>
                  <a:cubicBezTo>
                    <a:pt x="448" y="23"/>
                    <a:pt x="431" y="27"/>
                    <a:pt x="414" y="32"/>
                  </a:cubicBezTo>
                  <a:cubicBezTo>
                    <a:pt x="378" y="43"/>
                    <a:pt x="339" y="59"/>
                    <a:pt x="298" y="80"/>
                  </a:cubicBezTo>
                  <a:cubicBezTo>
                    <a:pt x="257" y="101"/>
                    <a:pt x="215" y="129"/>
                    <a:pt x="175" y="165"/>
                  </a:cubicBezTo>
                  <a:cubicBezTo>
                    <a:pt x="135" y="202"/>
                    <a:pt x="99" y="245"/>
                    <a:pt x="69" y="299"/>
                  </a:cubicBezTo>
                  <a:lnTo>
                    <a:pt x="59" y="318"/>
                  </a:lnTo>
                  <a:lnTo>
                    <a:pt x="54" y="327"/>
                  </a:lnTo>
                  <a:lnTo>
                    <a:pt x="53" y="330"/>
                  </a:lnTo>
                  <a:lnTo>
                    <a:pt x="52" y="331"/>
                  </a:lnTo>
                  <a:lnTo>
                    <a:pt x="51" y="333"/>
                  </a:lnTo>
                  <a:lnTo>
                    <a:pt x="49" y="339"/>
                  </a:lnTo>
                  <a:cubicBezTo>
                    <a:pt x="42" y="353"/>
                    <a:pt x="36" y="367"/>
                    <a:pt x="31" y="382"/>
                  </a:cubicBezTo>
                  <a:cubicBezTo>
                    <a:pt x="21" y="411"/>
                    <a:pt x="13" y="441"/>
                    <a:pt x="8" y="473"/>
                  </a:cubicBezTo>
                  <a:cubicBezTo>
                    <a:pt x="2" y="504"/>
                    <a:pt x="0" y="537"/>
                    <a:pt x="0" y="569"/>
                  </a:cubicBezTo>
                  <a:cubicBezTo>
                    <a:pt x="1" y="601"/>
                    <a:pt x="3" y="634"/>
                    <a:pt x="8" y="666"/>
                  </a:cubicBezTo>
                  <a:cubicBezTo>
                    <a:pt x="19" y="730"/>
                    <a:pt x="39" y="792"/>
                    <a:pt x="65" y="850"/>
                  </a:cubicBezTo>
                  <a:cubicBezTo>
                    <a:pt x="92" y="908"/>
                    <a:pt x="125" y="962"/>
                    <a:pt x="161" y="1010"/>
                  </a:cubicBezTo>
                  <a:cubicBezTo>
                    <a:pt x="234" y="1108"/>
                    <a:pt x="321" y="1183"/>
                    <a:pt x="401" y="1238"/>
                  </a:cubicBezTo>
                  <a:cubicBezTo>
                    <a:pt x="442" y="1266"/>
                    <a:pt x="478" y="1288"/>
                    <a:pt x="516" y="1308"/>
                  </a:cubicBezTo>
                  <a:cubicBezTo>
                    <a:pt x="525" y="1313"/>
                    <a:pt x="533" y="1317"/>
                    <a:pt x="541" y="1320"/>
                  </a:cubicBezTo>
                  <a:cubicBezTo>
                    <a:pt x="548" y="1324"/>
                    <a:pt x="556" y="1328"/>
                    <a:pt x="563" y="1332"/>
                  </a:cubicBezTo>
                  <a:cubicBezTo>
                    <a:pt x="578" y="1338"/>
                    <a:pt x="592" y="1344"/>
                    <a:pt x="605" y="1350"/>
                  </a:cubicBezTo>
                  <a:lnTo>
                    <a:pt x="582" y="1430"/>
                  </a:lnTo>
                  <a:lnTo>
                    <a:pt x="952" y="1337"/>
                  </a:lnTo>
                  <a:lnTo>
                    <a:pt x="687" y="1063"/>
                  </a:lnTo>
                  <a:lnTo>
                    <a:pt x="657" y="1166"/>
                  </a:lnTo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Arrow11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7446F5A1-761B-44E1-9DC6-C05B619277FB}"/>
                </a:ext>
              </a:extLst>
            </p:cNvPr>
            <p:cNvSpPr>
              <a:spLocks noChangeAspect="1"/>
            </p:cNvSpPr>
            <p:nvPr/>
          </p:nvSpPr>
          <p:spPr bwMode="auto">
            <a:xfrm rot="14870168" flipV="1">
              <a:off x="4868250" y="3230614"/>
              <a:ext cx="902433" cy="1479087"/>
            </a:xfrm>
            <a:custGeom>
              <a:avLst/>
              <a:gdLst>
                <a:gd name="T0" fmla="*/ 657 w 952"/>
                <a:gd name="T1" fmla="*/ 1166 h 1430"/>
                <a:gd name="T2" fmla="*/ 637 w 952"/>
                <a:gd name="T3" fmla="*/ 1160 h 1430"/>
                <a:gd name="T4" fmla="*/ 614 w 952"/>
                <a:gd name="T5" fmla="*/ 1151 h 1430"/>
                <a:gd name="T6" fmla="*/ 591 w 952"/>
                <a:gd name="T7" fmla="*/ 1142 h 1430"/>
                <a:gd name="T8" fmla="*/ 490 w 952"/>
                <a:gd name="T9" fmla="*/ 1095 h 1430"/>
                <a:gd name="T10" fmla="*/ 267 w 952"/>
                <a:gd name="T11" fmla="*/ 923 h 1430"/>
                <a:gd name="T12" fmla="*/ 171 w 952"/>
                <a:gd name="T13" fmla="*/ 796 h 1430"/>
                <a:gd name="T14" fmla="*/ 106 w 952"/>
                <a:gd name="T15" fmla="*/ 645 h 1430"/>
                <a:gd name="T16" fmla="*/ 90 w 952"/>
                <a:gd name="T17" fmla="*/ 564 h 1430"/>
                <a:gd name="T18" fmla="*/ 89 w 952"/>
                <a:gd name="T19" fmla="*/ 482 h 1430"/>
                <a:gd name="T20" fmla="*/ 100 w 952"/>
                <a:gd name="T21" fmla="*/ 402 h 1430"/>
                <a:gd name="T22" fmla="*/ 111 w 952"/>
                <a:gd name="T23" fmla="*/ 364 h 1430"/>
                <a:gd name="T24" fmla="*/ 113 w 952"/>
                <a:gd name="T25" fmla="*/ 359 h 1430"/>
                <a:gd name="T26" fmla="*/ 113 w 952"/>
                <a:gd name="T27" fmla="*/ 358 h 1430"/>
                <a:gd name="T28" fmla="*/ 113 w 952"/>
                <a:gd name="T29" fmla="*/ 359 h 1430"/>
                <a:gd name="T30" fmla="*/ 113 w 952"/>
                <a:gd name="T31" fmla="*/ 358 h 1430"/>
                <a:gd name="T32" fmla="*/ 114 w 952"/>
                <a:gd name="T33" fmla="*/ 355 h 1430"/>
                <a:gd name="T34" fmla="*/ 118 w 952"/>
                <a:gd name="T35" fmla="*/ 345 h 1430"/>
                <a:gd name="T36" fmla="*/ 126 w 952"/>
                <a:gd name="T37" fmla="*/ 326 h 1430"/>
                <a:gd name="T38" fmla="*/ 143 w 952"/>
                <a:gd name="T39" fmla="*/ 291 h 1430"/>
                <a:gd name="T40" fmla="*/ 162 w 952"/>
                <a:gd name="T41" fmla="*/ 258 h 1430"/>
                <a:gd name="T42" fmla="*/ 184 w 952"/>
                <a:gd name="T43" fmla="*/ 227 h 1430"/>
                <a:gd name="T44" fmla="*/ 208 w 952"/>
                <a:gd name="T45" fmla="*/ 198 h 1430"/>
                <a:gd name="T46" fmla="*/ 314 w 952"/>
                <a:gd name="T47" fmla="*/ 107 h 1430"/>
                <a:gd name="T48" fmla="*/ 420 w 952"/>
                <a:gd name="T49" fmla="*/ 50 h 1430"/>
                <a:gd name="T50" fmla="*/ 467 w 952"/>
                <a:gd name="T51" fmla="*/ 31 h 1430"/>
                <a:gd name="T52" fmla="*/ 509 w 952"/>
                <a:gd name="T53" fmla="*/ 18 h 1430"/>
                <a:gd name="T54" fmla="*/ 542 w 952"/>
                <a:gd name="T55" fmla="*/ 9 h 1430"/>
                <a:gd name="T56" fmla="*/ 568 w 952"/>
                <a:gd name="T57" fmla="*/ 4 h 1430"/>
                <a:gd name="T58" fmla="*/ 589 w 952"/>
                <a:gd name="T59" fmla="*/ 0 h 1430"/>
                <a:gd name="T60" fmla="*/ 567 w 952"/>
                <a:gd name="T61" fmla="*/ 2 h 1430"/>
                <a:gd name="T62" fmla="*/ 541 w 952"/>
                <a:gd name="T63" fmla="*/ 5 h 1430"/>
                <a:gd name="T64" fmla="*/ 507 w 952"/>
                <a:gd name="T65" fmla="*/ 10 h 1430"/>
                <a:gd name="T66" fmla="*/ 464 w 952"/>
                <a:gd name="T67" fmla="*/ 19 h 1430"/>
                <a:gd name="T68" fmla="*/ 414 w 952"/>
                <a:gd name="T69" fmla="*/ 32 h 1430"/>
                <a:gd name="T70" fmla="*/ 298 w 952"/>
                <a:gd name="T71" fmla="*/ 80 h 1430"/>
                <a:gd name="T72" fmla="*/ 175 w 952"/>
                <a:gd name="T73" fmla="*/ 165 h 1430"/>
                <a:gd name="T74" fmla="*/ 69 w 952"/>
                <a:gd name="T75" fmla="*/ 299 h 1430"/>
                <a:gd name="T76" fmla="*/ 59 w 952"/>
                <a:gd name="T77" fmla="*/ 318 h 1430"/>
                <a:gd name="T78" fmla="*/ 54 w 952"/>
                <a:gd name="T79" fmla="*/ 327 h 1430"/>
                <a:gd name="T80" fmla="*/ 53 w 952"/>
                <a:gd name="T81" fmla="*/ 330 h 1430"/>
                <a:gd name="T82" fmla="*/ 52 w 952"/>
                <a:gd name="T83" fmla="*/ 331 h 1430"/>
                <a:gd name="T84" fmla="*/ 51 w 952"/>
                <a:gd name="T85" fmla="*/ 333 h 1430"/>
                <a:gd name="T86" fmla="*/ 49 w 952"/>
                <a:gd name="T87" fmla="*/ 339 h 1430"/>
                <a:gd name="T88" fmla="*/ 31 w 952"/>
                <a:gd name="T89" fmla="*/ 382 h 1430"/>
                <a:gd name="T90" fmla="*/ 8 w 952"/>
                <a:gd name="T91" fmla="*/ 473 h 1430"/>
                <a:gd name="T92" fmla="*/ 0 w 952"/>
                <a:gd name="T93" fmla="*/ 569 h 1430"/>
                <a:gd name="T94" fmla="*/ 8 w 952"/>
                <a:gd name="T95" fmla="*/ 666 h 1430"/>
                <a:gd name="T96" fmla="*/ 65 w 952"/>
                <a:gd name="T97" fmla="*/ 850 h 1430"/>
                <a:gd name="T98" fmla="*/ 161 w 952"/>
                <a:gd name="T99" fmla="*/ 1010 h 1430"/>
                <a:gd name="T100" fmla="*/ 401 w 952"/>
                <a:gd name="T101" fmla="*/ 1238 h 1430"/>
                <a:gd name="T102" fmla="*/ 516 w 952"/>
                <a:gd name="T103" fmla="*/ 1308 h 1430"/>
                <a:gd name="T104" fmla="*/ 541 w 952"/>
                <a:gd name="T105" fmla="*/ 1320 h 1430"/>
                <a:gd name="T106" fmla="*/ 563 w 952"/>
                <a:gd name="T107" fmla="*/ 1332 h 1430"/>
                <a:gd name="T108" fmla="*/ 605 w 952"/>
                <a:gd name="T109" fmla="*/ 1350 h 1430"/>
                <a:gd name="T110" fmla="*/ 582 w 952"/>
                <a:gd name="T111" fmla="*/ 1430 h 1430"/>
                <a:gd name="T112" fmla="*/ 952 w 952"/>
                <a:gd name="T113" fmla="*/ 1337 h 1430"/>
                <a:gd name="T114" fmla="*/ 687 w 952"/>
                <a:gd name="T115" fmla="*/ 1063 h 1430"/>
                <a:gd name="T116" fmla="*/ 657 w 952"/>
                <a:gd name="T117" fmla="*/ 116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2" h="1430">
                  <a:moveTo>
                    <a:pt x="657" y="1166"/>
                  </a:moveTo>
                  <a:cubicBezTo>
                    <a:pt x="651" y="1164"/>
                    <a:pt x="644" y="1162"/>
                    <a:pt x="637" y="1160"/>
                  </a:cubicBezTo>
                  <a:cubicBezTo>
                    <a:pt x="630" y="1157"/>
                    <a:pt x="622" y="1154"/>
                    <a:pt x="614" y="1151"/>
                  </a:cubicBezTo>
                  <a:cubicBezTo>
                    <a:pt x="606" y="1148"/>
                    <a:pt x="598" y="1145"/>
                    <a:pt x="591" y="1142"/>
                  </a:cubicBezTo>
                  <a:cubicBezTo>
                    <a:pt x="562" y="1131"/>
                    <a:pt x="526" y="1114"/>
                    <a:pt x="490" y="1095"/>
                  </a:cubicBezTo>
                  <a:cubicBezTo>
                    <a:pt x="417" y="1056"/>
                    <a:pt x="337" y="999"/>
                    <a:pt x="267" y="923"/>
                  </a:cubicBezTo>
                  <a:cubicBezTo>
                    <a:pt x="231" y="885"/>
                    <a:pt x="199" y="842"/>
                    <a:pt x="171" y="796"/>
                  </a:cubicBezTo>
                  <a:cubicBezTo>
                    <a:pt x="143" y="749"/>
                    <a:pt x="120" y="698"/>
                    <a:pt x="106" y="645"/>
                  </a:cubicBezTo>
                  <a:cubicBezTo>
                    <a:pt x="99" y="618"/>
                    <a:pt x="94" y="591"/>
                    <a:pt x="90" y="564"/>
                  </a:cubicBezTo>
                  <a:cubicBezTo>
                    <a:pt x="88" y="537"/>
                    <a:pt x="87" y="509"/>
                    <a:pt x="89" y="482"/>
                  </a:cubicBezTo>
                  <a:cubicBezTo>
                    <a:pt x="90" y="455"/>
                    <a:pt x="94" y="428"/>
                    <a:pt x="100" y="402"/>
                  </a:cubicBezTo>
                  <a:cubicBezTo>
                    <a:pt x="103" y="389"/>
                    <a:pt x="107" y="376"/>
                    <a:pt x="111" y="364"/>
                  </a:cubicBezTo>
                  <a:lnTo>
                    <a:pt x="113" y="359"/>
                  </a:lnTo>
                  <a:lnTo>
                    <a:pt x="113" y="358"/>
                  </a:lnTo>
                  <a:cubicBezTo>
                    <a:pt x="113" y="358"/>
                    <a:pt x="112" y="360"/>
                    <a:pt x="113" y="359"/>
                  </a:cubicBezTo>
                  <a:lnTo>
                    <a:pt x="113" y="358"/>
                  </a:lnTo>
                  <a:lnTo>
                    <a:pt x="114" y="355"/>
                  </a:lnTo>
                  <a:lnTo>
                    <a:pt x="118" y="345"/>
                  </a:lnTo>
                  <a:lnTo>
                    <a:pt x="126" y="326"/>
                  </a:lnTo>
                  <a:cubicBezTo>
                    <a:pt x="131" y="314"/>
                    <a:pt x="137" y="303"/>
                    <a:pt x="143" y="291"/>
                  </a:cubicBezTo>
                  <a:cubicBezTo>
                    <a:pt x="149" y="280"/>
                    <a:pt x="156" y="269"/>
                    <a:pt x="162" y="258"/>
                  </a:cubicBezTo>
                  <a:cubicBezTo>
                    <a:pt x="170" y="247"/>
                    <a:pt x="177" y="237"/>
                    <a:pt x="184" y="227"/>
                  </a:cubicBezTo>
                  <a:cubicBezTo>
                    <a:pt x="192" y="217"/>
                    <a:pt x="200" y="207"/>
                    <a:pt x="208" y="198"/>
                  </a:cubicBezTo>
                  <a:cubicBezTo>
                    <a:pt x="241" y="161"/>
                    <a:pt x="277" y="131"/>
                    <a:pt x="314" y="107"/>
                  </a:cubicBezTo>
                  <a:cubicBezTo>
                    <a:pt x="351" y="83"/>
                    <a:pt x="387" y="64"/>
                    <a:pt x="420" y="50"/>
                  </a:cubicBezTo>
                  <a:cubicBezTo>
                    <a:pt x="437" y="43"/>
                    <a:pt x="453" y="37"/>
                    <a:pt x="467" y="31"/>
                  </a:cubicBezTo>
                  <a:cubicBezTo>
                    <a:pt x="482" y="27"/>
                    <a:pt x="496" y="22"/>
                    <a:pt x="509" y="18"/>
                  </a:cubicBezTo>
                  <a:cubicBezTo>
                    <a:pt x="521" y="15"/>
                    <a:pt x="532" y="12"/>
                    <a:pt x="542" y="9"/>
                  </a:cubicBezTo>
                  <a:cubicBezTo>
                    <a:pt x="552" y="7"/>
                    <a:pt x="561" y="6"/>
                    <a:pt x="568" y="4"/>
                  </a:cubicBezTo>
                  <a:cubicBezTo>
                    <a:pt x="581" y="1"/>
                    <a:pt x="589" y="0"/>
                    <a:pt x="589" y="0"/>
                  </a:cubicBezTo>
                  <a:cubicBezTo>
                    <a:pt x="589" y="0"/>
                    <a:pt x="581" y="0"/>
                    <a:pt x="567" y="2"/>
                  </a:cubicBezTo>
                  <a:cubicBezTo>
                    <a:pt x="560" y="3"/>
                    <a:pt x="552" y="3"/>
                    <a:pt x="541" y="5"/>
                  </a:cubicBezTo>
                  <a:cubicBezTo>
                    <a:pt x="531" y="6"/>
                    <a:pt x="520" y="8"/>
                    <a:pt x="507" y="10"/>
                  </a:cubicBezTo>
                  <a:cubicBezTo>
                    <a:pt x="494" y="12"/>
                    <a:pt x="479" y="15"/>
                    <a:pt x="464" y="19"/>
                  </a:cubicBezTo>
                  <a:cubicBezTo>
                    <a:pt x="448" y="23"/>
                    <a:pt x="431" y="27"/>
                    <a:pt x="414" y="32"/>
                  </a:cubicBezTo>
                  <a:cubicBezTo>
                    <a:pt x="378" y="43"/>
                    <a:pt x="339" y="59"/>
                    <a:pt x="298" y="80"/>
                  </a:cubicBezTo>
                  <a:cubicBezTo>
                    <a:pt x="257" y="101"/>
                    <a:pt x="215" y="129"/>
                    <a:pt x="175" y="165"/>
                  </a:cubicBezTo>
                  <a:cubicBezTo>
                    <a:pt x="135" y="202"/>
                    <a:pt x="99" y="245"/>
                    <a:pt x="69" y="299"/>
                  </a:cubicBezTo>
                  <a:lnTo>
                    <a:pt x="59" y="318"/>
                  </a:lnTo>
                  <a:lnTo>
                    <a:pt x="54" y="327"/>
                  </a:lnTo>
                  <a:lnTo>
                    <a:pt x="53" y="330"/>
                  </a:lnTo>
                  <a:lnTo>
                    <a:pt x="52" y="331"/>
                  </a:lnTo>
                  <a:lnTo>
                    <a:pt x="51" y="333"/>
                  </a:lnTo>
                  <a:lnTo>
                    <a:pt x="49" y="339"/>
                  </a:lnTo>
                  <a:cubicBezTo>
                    <a:pt x="42" y="353"/>
                    <a:pt x="36" y="367"/>
                    <a:pt x="31" y="382"/>
                  </a:cubicBezTo>
                  <a:cubicBezTo>
                    <a:pt x="21" y="411"/>
                    <a:pt x="13" y="441"/>
                    <a:pt x="8" y="473"/>
                  </a:cubicBezTo>
                  <a:cubicBezTo>
                    <a:pt x="2" y="504"/>
                    <a:pt x="0" y="537"/>
                    <a:pt x="0" y="569"/>
                  </a:cubicBezTo>
                  <a:cubicBezTo>
                    <a:pt x="1" y="601"/>
                    <a:pt x="3" y="634"/>
                    <a:pt x="8" y="666"/>
                  </a:cubicBezTo>
                  <a:cubicBezTo>
                    <a:pt x="19" y="730"/>
                    <a:pt x="39" y="792"/>
                    <a:pt x="65" y="850"/>
                  </a:cubicBezTo>
                  <a:cubicBezTo>
                    <a:pt x="92" y="908"/>
                    <a:pt x="125" y="962"/>
                    <a:pt x="161" y="1010"/>
                  </a:cubicBezTo>
                  <a:cubicBezTo>
                    <a:pt x="234" y="1108"/>
                    <a:pt x="321" y="1183"/>
                    <a:pt x="401" y="1238"/>
                  </a:cubicBezTo>
                  <a:cubicBezTo>
                    <a:pt x="442" y="1266"/>
                    <a:pt x="478" y="1288"/>
                    <a:pt x="516" y="1308"/>
                  </a:cubicBezTo>
                  <a:cubicBezTo>
                    <a:pt x="525" y="1313"/>
                    <a:pt x="533" y="1317"/>
                    <a:pt x="541" y="1320"/>
                  </a:cubicBezTo>
                  <a:cubicBezTo>
                    <a:pt x="548" y="1324"/>
                    <a:pt x="556" y="1328"/>
                    <a:pt x="563" y="1332"/>
                  </a:cubicBezTo>
                  <a:cubicBezTo>
                    <a:pt x="578" y="1338"/>
                    <a:pt x="592" y="1344"/>
                    <a:pt x="605" y="1350"/>
                  </a:cubicBezTo>
                  <a:lnTo>
                    <a:pt x="582" y="1430"/>
                  </a:lnTo>
                  <a:lnTo>
                    <a:pt x="952" y="1337"/>
                  </a:lnTo>
                  <a:lnTo>
                    <a:pt x="687" y="1063"/>
                  </a:lnTo>
                  <a:lnTo>
                    <a:pt x="657" y="1166"/>
                  </a:lnTo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C6DF37DF-BA1A-4626-AADB-49E78D6CEB54}"/>
                </a:ext>
              </a:extLst>
            </p:cNvPr>
            <p:cNvSpPr txBox="1"/>
            <p:nvPr/>
          </p:nvSpPr>
          <p:spPr>
            <a:xfrm>
              <a:off x="2774784" y="4463254"/>
              <a:ext cx="157747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100" b="1">
                  <a:solidFill>
                    <a:schemeClr val="tx2"/>
                  </a:solidFill>
                </a:rPr>
                <a:t>37% from US</a:t>
              </a:r>
              <a:endParaRPr lang="en-GB" sz="1100" b="1" dirty="0">
                <a:solidFill>
                  <a:schemeClr val="tx2"/>
                </a:solidFill>
              </a:endParaRP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BDAB40F-C961-4F77-B30E-4679A3F7C8A9}"/>
                </a:ext>
              </a:extLst>
            </p:cNvPr>
            <p:cNvSpPr txBox="1"/>
            <p:nvPr/>
          </p:nvSpPr>
          <p:spPr>
            <a:xfrm>
              <a:off x="4388853" y="4463254"/>
              <a:ext cx="185965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100" b="1">
                  <a:solidFill>
                    <a:schemeClr val="tx2"/>
                  </a:solidFill>
                </a:rPr>
                <a:t>25% from la Russia</a:t>
              </a:r>
              <a:endParaRPr lang="en-GB" sz="1100" b="1" dirty="0">
                <a:solidFill>
                  <a:schemeClr val="tx2"/>
                </a:solidFill>
              </a:endParaRPr>
            </a:p>
          </p:txBody>
        </p:sp>
        <p:pic>
          <p:nvPicPr>
            <p:cNvPr id="19" name="Image 18" descr="Une image contenant extérieur, terrain, blanc, roche&#10;&#10;Description générée automatiquement">
              <a:extLst>
                <a:ext uri="{FF2B5EF4-FFF2-40B4-BE49-F238E27FC236}">
                  <a16:creationId xmlns:a16="http://schemas.microsoft.com/office/drawing/2014/main" id="{03FB3EFC-59E9-4C85-BC58-81E80B4E9E6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2831741" y="1617324"/>
              <a:ext cx="576000" cy="576000"/>
            </a:xfrm>
            <a:prstGeom prst="ellipse">
              <a:avLst/>
            </a:prstGeom>
            <a:ln w="28575" cap="rnd">
              <a:solidFill>
                <a:schemeClr val="bg1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E58015D-1385-45A7-898A-80A9AA824AB6}"/>
                </a:ext>
              </a:extLst>
            </p:cNvPr>
            <p:cNvSpPr/>
            <p:nvPr/>
          </p:nvSpPr>
          <p:spPr>
            <a:xfrm>
              <a:off x="3034521" y="5341820"/>
              <a:ext cx="3167610" cy="5852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6F509FA1-2A18-41E2-BB8A-967027BF0C4B}"/>
                </a:ext>
              </a:extLst>
            </p:cNvPr>
            <p:cNvSpPr txBox="1"/>
            <p:nvPr/>
          </p:nvSpPr>
          <p:spPr>
            <a:xfrm>
              <a:off x="3378163" y="5416845"/>
              <a:ext cx="2763380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>
                  <a:solidFill>
                    <a:schemeClr val="bg1"/>
                  </a:solidFill>
                </a:rPr>
                <a:t>33,000 tons Ti mill products imported by EU et UK</a:t>
              </a:r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5C35C4AC-51D3-496C-B8E3-1EC6911C813B}"/>
                </a:ext>
              </a:extLst>
            </p:cNvPr>
            <p:cNvPicPr>
              <a:picLocks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2831741" y="5352788"/>
              <a:ext cx="576000" cy="576000"/>
            </a:xfrm>
            <a:prstGeom prst="ellipse">
              <a:avLst/>
            </a:prstGeom>
            <a:ln w="28575" cap="rnd">
              <a:solidFill>
                <a:schemeClr val="bg1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</p:spPr>
        </p:pic>
        <p:sp>
          <p:nvSpPr>
            <p:cNvPr id="23" name="ZoneTexte 22">
              <a:extLst>
                <a:ext uri="{FF2B5EF4-FFF2-40B4-BE49-F238E27FC236}">
                  <a16:creationId xmlns:a16="http://schemas.microsoft.com/office/drawing/2014/main" id="{281C436C-7E98-43F9-B311-05400A3F4C22}"/>
                </a:ext>
              </a:extLst>
            </p:cNvPr>
            <p:cNvSpPr txBox="1"/>
            <p:nvPr/>
          </p:nvSpPr>
          <p:spPr>
            <a:xfrm>
              <a:off x="4305344" y="2498329"/>
              <a:ext cx="150514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100" b="1">
                  <a:solidFill>
                    <a:schemeClr val="tx2"/>
                  </a:solidFill>
                </a:rPr>
                <a:t>12% to Russia</a:t>
              </a:r>
              <a:endParaRPr lang="en-GB" sz="11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3" name="ZoneTexte 2">
            <a:extLst>
              <a:ext uri="{FF2B5EF4-FFF2-40B4-BE49-F238E27FC236}">
                <a16:creationId xmlns:a16="http://schemas.microsoft.com/office/drawing/2014/main" id="{679E1728-3343-4CF1-8E79-08FABDBAAFA1}"/>
              </a:ext>
            </a:extLst>
          </p:cNvPr>
          <p:cNvSpPr txBox="1"/>
          <p:nvPr/>
        </p:nvSpPr>
        <p:spPr>
          <a:xfrm>
            <a:off x="3234280" y="4429031"/>
            <a:ext cx="9775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chemeClr val="tx2"/>
                </a:solidFill>
              </a:rPr>
              <a:t>(</a:t>
            </a:r>
            <a:r>
              <a:rPr lang="fr-FR" sz="900" i="1" dirty="0">
                <a:solidFill>
                  <a:schemeClr val="tx2"/>
                </a:solidFill>
              </a:rPr>
              <a:t>12,335 tons</a:t>
            </a:r>
            <a:r>
              <a:rPr lang="fr-FR" sz="900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66" name="ZoneTexte 65">
            <a:extLst>
              <a:ext uri="{FF2B5EF4-FFF2-40B4-BE49-F238E27FC236}">
                <a16:creationId xmlns:a16="http://schemas.microsoft.com/office/drawing/2014/main" id="{A6CA6E95-4C05-4627-9500-21A11530D9DD}"/>
              </a:ext>
            </a:extLst>
          </p:cNvPr>
          <p:cNvSpPr txBox="1"/>
          <p:nvPr/>
        </p:nvSpPr>
        <p:spPr>
          <a:xfrm>
            <a:off x="4767015" y="4429031"/>
            <a:ext cx="9775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chemeClr val="tx2"/>
                </a:solidFill>
              </a:rPr>
              <a:t>(</a:t>
            </a:r>
            <a:r>
              <a:rPr lang="fr-FR" sz="900" i="1" dirty="0">
                <a:solidFill>
                  <a:schemeClr val="tx2"/>
                </a:solidFill>
              </a:rPr>
              <a:t>8,463 tons</a:t>
            </a:r>
            <a:r>
              <a:rPr lang="fr-FR" sz="900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67" name="ZoneTexte 66">
            <a:extLst>
              <a:ext uri="{FF2B5EF4-FFF2-40B4-BE49-F238E27FC236}">
                <a16:creationId xmlns:a16="http://schemas.microsoft.com/office/drawing/2014/main" id="{CFD1747E-F41F-484A-B2F3-BC6AE5D9E67B}"/>
              </a:ext>
            </a:extLst>
          </p:cNvPr>
          <p:cNvSpPr txBox="1"/>
          <p:nvPr/>
        </p:nvSpPr>
        <p:spPr>
          <a:xfrm>
            <a:off x="3234280" y="2449531"/>
            <a:ext cx="9775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chemeClr val="tx2"/>
                </a:solidFill>
              </a:rPr>
              <a:t>(</a:t>
            </a:r>
            <a:r>
              <a:rPr lang="fr-FR" sz="900" i="1" dirty="0">
                <a:solidFill>
                  <a:schemeClr val="tx2"/>
                </a:solidFill>
              </a:rPr>
              <a:t>18,012 tons</a:t>
            </a:r>
            <a:r>
              <a:rPr lang="fr-FR" sz="900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68" name="ZoneTexte 67">
            <a:extLst>
              <a:ext uri="{FF2B5EF4-FFF2-40B4-BE49-F238E27FC236}">
                <a16:creationId xmlns:a16="http://schemas.microsoft.com/office/drawing/2014/main" id="{408C2B51-EFAA-41DF-8E67-96FDA9195C90}"/>
              </a:ext>
            </a:extLst>
          </p:cNvPr>
          <p:cNvSpPr txBox="1"/>
          <p:nvPr/>
        </p:nvSpPr>
        <p:spPr>
          <a:xfrm>
            <a:off x="4767015" y="2449531"/>
            <a:ext cx="9775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chemeClr val="tx2"/>
                </a:solidFill>
              </a:rPr>
              <a:t>(</a:t>
            </a:r>
            <a:r>
              <a:rPr lang="fr-FR" sz="900" i="1" dirty="0">
                <a:solidFill>
                  <a:schemeClr val="tx2"/>
                </a:solidFill>
              </a:rPr>
              <a:t>3,288 tons</a:t>
            </a:r>
            <a:r>
              <a:rPr lang="fr-FR" sz="900" dirty="0">
                <a:solidFill>
                  <a:schemeClr val="tx2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960326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A37F8A-4E0B-488A-AB93-40397B9DD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FBFC90B-6B25-4815-AFEB-2D189DDA2F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E6B3D44-6215-478E-9EED-C1DB6902AC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F588E96-8703-408A-99CC-BB3E325163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535BBC7-0160-44FC-B678-D1BACCEC87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6</a:t>
            </a:fld>
            <a:endParaRPr lang="fr-FR" dirty="0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9D8A9925-527E-4CCE-B64C-5BD1E4085B04}"/>
              </a:ext>
            </a:extLst>
          </p:cNvPr>
          <p:cNvGrpSpPr/>
          <p:nvPr/>
        </p:nvGrpSpPr>
        <p:grpSpPr>
          <a:xfrm>
            <a:off x="2464068" y="2487283"/>
            <a:ext cx="4582312" cy="2057401"/>
            <a:chOff x="1734312" y="3733799"/>
            <a:chExt cx="4582312" cy="2057401"/>
          </a:xfrm>
        </p:grpSpPr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2976AD60-58DC-4678-8C2A-8EC98EB70FCD}"/>
                </a:ext>
              </a:extLst>
            </p:cNvPr>
            <p:cNvSpPr txBox="1"/>
            <p:nvPr/>
          </p:nvSpPr>
          <p:spPr>
            <a:xfrm>
              <a:off x="4395202" y="5489650"/>
              <a:ext cx="83324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>
                  <a:solidFill>
                    <a:schemeClr val="tx2"/>
                  </a:solidFill>
                </a:rPr>
                <a:t>Hard Alpha</a:t>
              </a:r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3B9DDA21-5AB4-48E0-A170-CBC9D4431A47}"/>
                </a:ext>
              </a:extLst>
            </p:cNvPr>
            <p:cNvSpPr txBox="1"/>
            <p:nvPr/>
          </p:nvSpPr>
          <p:spPr>
            <a:xfrm>
              <a:off x="5278969" y="5489650"/>
              <a:ext cx="91309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>
                  <a:solidFill>
                    <a:schemeClr val="tx2"/>
                  </a:solidFill>
                </a:rPr>
                <a:t>Hard Density</a:t>
              </a:r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81CD2908-41CE-4A03-9138-50AE3D6B4B19}"/>
                </a:ext>
              </a:extLst>
            </p:cNvPr>
            <p:cNvSpPr txBox="1"/>
            <p:nvPr/>
          </p:nvSpPr>
          <p:spPr>
            <a:xfrm>
              <a:off x="2928657" y="5486853"/>
              <a:ext cx="91309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>
                  <a:solidFill>
                    <a:schemeClr val="tx2"/>
                  </a:solidFill>
                </a:rPr>
                <a:t>Hard Density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C4BE68FF-6F19-409A-91F7-A6FD59FFE38B}"/>
                </a:ext>
              </a:extLst>
            </p:cNvPr>
            <p:cNvSpPr txBox="1"/>
            <p:nvPr/>
          </p:nvSpPr>
          <p:spPr>
            <a:xfrm>
              <a:off x="2038540" y="5486853"/>
              <a:ext cx="83324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>
                  <a:solidFill>
                    <a:schemeClr val="tx2"/>
                  </a:solidFill>
                </a:rPr>
                <a:t>Hard Alpha</a:t>
              </a:r>
            </a:p>
          </p:txBody>
        </p:sp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FE6CD69C-D0FE-4470-80EE-442C695C6EBE}"/>
                </a:ext>
              </a:extLst>
            </p:cNvPr>
            <p:cNvGrpSpPr/>
            <p:nvPr/>
          </p:nvGrpSpPr>
          <p:grpSpPr>
            <a:xfrm>
              <a:off x="4226737" y="4210049"/>
              <a:ext cx="1965325" cy="976800"/>
              <a:chOff x="1876425" y="4216400"/>
              <a:chExt cx="1965325" cy="976800"/>
            </a:xfrm>
          </p:grpSpPr>
          <p:cxnSp>
            <p:nvCxnSpPr>
              <p:cNvPr id="39" name="Connecteur droit 38">
                <a:extLst>
                  <a:ext uri="{FF2B5EF4-FFF2-40B4-BE49-F238E27FC236}">
                    <a16:creationId xmlns:a16="http://schemas.microsoft.com/office/drawing/2014/main" id="{F2AEC527-49A9-4680-91D4-1546A5F97251}"/>
                  </a:ext>
                </a:extLst>
              </p:cNvPr>
              <p:cNvCxnSpPr/>
              <p:nvPr/>
            </p:nvCxnSpPr>
            <p:spPr>
              <a:xfrm>
                <a:off x="1876425" y="42164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Connecteur droit 39">
                <a:extLst>
                  <a:ext uri="{FF2B5EF4-FFF2-40B4-BE49-F238E27FC236}">
                    <a16:creationId xmlns:a16="http://schemas.microsoft.com/office/drawing/2014/main" id="{398699ED-0B57-456A-A537-B4EC3614B9B5}"/>
                  </a:ext>
                </a:extLst>
              </p:cNvPr>
              <p:cNvCxnSpPr/>
              <p:nvPr/>
            </p:nvCxnSpPr>
            <p:spPr>
              <a:xfrm>
                <a:off x="1876425" y="44606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Connecteur droit 40">
                <a:extLst>
                  <a:ext uri="{FF2B5EF4-FFF2-40B4-BE49-F238E27FC236}">
                    <a16:creationId xmlns:a16="http://schemas.microsoft.com/office/drawing/2014/main" id="{FD509C30-6FF7-4ECD-9505-835FEBE8CA12}"/>
                  </a:ext>
                </a:extLst>
              </p:cNvPr>
              <p:cNvCxnSpPr/>
              <p:nvPr/>
            </p:nvCxnSpPr>
            <p:spPr>
              <a:xfrm>
                <a:off x="1876425" y="47048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necteur droit 41">
                <a:extLst>
                  <a:ext uri="{FF2B5EF4-FFF2-40B4-BE49-F238E27FC236}">
                    <a16:creationId xmlns:a16="http://schemas.microsoft.com/office/drawing/2014/main" id="{FB37B187-B54C-4C20-91E5-C70FF517B3F2}"/>
                  </a:ext>
                </a:extLst>
              </p:cNvPr>
              <p:cNvCxnSpPr/>
              <p:nvPr/>
            </p:nvCxnSpPr>
            <p:spPr>
              <a:xfrm>
                <a:off x="1876425" y="49490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Connecteur droit 42">
                <a:extLst>
                  <a:ext uri="{FF2B5EF4-FFF2-40B4-BE49-F238E27FC236}">
                    <a16:creationId xmlns:a16="http://schemas.microsoft.com/office/drawing/2014/main" id="{9E4193AF-BD77-48C0-8F11-78B4EE0466D4}"/>
                  </a:ext>
                </a:extLst>
              </p:cNvPr>
              <p:cNvCxnSpPr/>
              <p:nvPr/>
            </p:nvCxnSpPr>
            <p:spPr>
              <a:xfrm>
                <a:off x="1876425" y="5193200"/>
                <a:ext cx="1965325" cy="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e 13">
              <a:extLst>
                <a:ext uri="{FF2B5EF4-FFF2-40B4-BE49-F238E27FC236}">
                  <a16:creationId xmlns:a16="http://schemas.microsoft.com/office/drawing/2014/main" id="{68D442D2-D6E5-4B2C-89A1-5356C9D7626E}"/>
                </a:ext>
              </a:extLst>
            </p:cNvPr>
            <p:cNvGrpSpPr/>
            <p:nvPr/>
          </p:nvGrpSpPr>
          <p:grpSpPr>
            <a:xfrm>
              <a:off x="1876425" y="4216400"/>
              <a:ext cx="1965325" cy="976800"/>
              <a:chOff x="1876425" y="4216400"/>
              <a:chExt cx="1965325" cy="976800"/>
            </a:xfrm>
          </p:grpSpPr>
          <p:cxnSp>
            <p:nvCxnSpPr>
              <p:cNvPr id="34" name="Connecteur droit 33">
                <a:extLst>
                  <a:ext uri="{FF2B5EF4-FFF2-40B4-BE49-F238E27FC236}">
                    <a16:creationId xmlns:a16="http://schemas.microsoft.com/office/drawing/2014/main" id="{A863D25C-7AFE-4380-AD75-FE34C9B7285A}"/>
                  </a:ext>
                </a:extLst>
              </p:cNvPr>
              <p:cNvCxnSpPr/>
              <p:nvPr/>
            </p:nvCxnSpPr>
            <p:spPr>
              <a:xfrm>
                <a:off x="1876425" y="42164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Connecteur droit 34">
                <a:extLst>
                  <a:ext uri="{FF2B5EF4-FFF2-40B4-BE49-F238E27FC236}">
                    <a16:creationId xmlns:a16="http://schemas.microsoft.com/office/drawing/2014/main" id="{25CBF94E-1106-4E14-B520-4136008C91C4}"/>
                  </a:ext>
                </a:extLst>
              </p:cNvPr>
              <p:cNvCxnSpPr/>
              <p:nvPr/>
            </p:nvCxnSpPr>
            <p:spPr>
              <a:xfrm>
                <a:off x="1876425" y="44606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Connecteur droit 35">
                <a:extLst>
                  <a:ext uri="{FF2B5EF4-FFF2-40B4-BE49-F238E27FC236}">
                    <a16:creationId xmlns:a16="http://schemas.microsoft.com/office/drawing/2014/main" id="{C819EC4C-7A13-4E10-AAC5-78D7462447DB}"/>
                  </a:ext>
                </a:extLst>
              </p:cNvPr>
              <p:cNvCxnSpPr/>
              <p:nvPr/>
            </p:nvCxnSpPr>
            <p:spPr>
              <a:xfrm>
                <a:off x="1876425" y="47048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Connecteur droit 36">
                <a:extLst>
                  <a:ext uri="{FF2B5EF4-FFF2-40B4-BE49-F238E27FC236}">
                    <a16:creationId xmlns:a16="http://schemas.microsoft.com/office/drawing/2014/main" id="{7562C839-6B4B-47EC-8871-3BD0711E9DDC}"/>
                  </a:ext>
                </a:extLst>
              </p:cNvPr>
              <p:cNvCxnSpPr/>
              <p:nvPr/>
            </p:nvCxnSpPr>
            <p:spPr>
              <a:xfrm>
                <a:off x="1876425" y="4949000"/>
                <a:ext cx="1965325" cy="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Connecteur droit 37">
                <a:extLst>
                  <a:ext uri="{FF2B5EF4-FFF2-40B4-BE49-F238E27FC236}">
                    <a16:creationId xmlns:a16="http://schemas.microsoft.com/office/drawing/2014/main" id="{6205433F-ED50-4B2B-B319-A16D3C8D16BD}"/>
                  </a:ext>
                </a:extLst>
              </p:cNvPr>
              <p:cNvCxnSpPr/>
              <p:nvPr/>
            </p:nvCxnSpPr>
            <p:spPr>
              <a:xfrm>
                <a:off x="1876425" y="5193200"/>
                <a:ext cx="1965325" cy="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0ED2221-AF9C-42FD-A3CB-9E90F38FBEE5}"/>
                </a:ext>
              </a:extLst>
            </p:cNvPr>
            <p:cNvSpPr/>
            <p:nvPr/>
          </p:nvSpPr>
          <p:spPr>
            <a:xfrm>
              <a:off x="2155824" y="4424962"/>
              <a:ext cx="403200" cy="761106"/>
            </a:xfrm>
            <a:prstGeom prst="rect">
              <a:avLst/>
            </a:prstGeom>
            <a:solidFill>
              <a:srgbClr val="C2D8D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2F0F8CC-116A-427D-96FA-A75E7EC885A2}"/>
                </a:ext>
              </a:extLst>
            </p:cNvPr>
            <p:cNvSpPr/>
            <p:nvPr/>
          </p:nvSpPr>
          <p:spPr>
            <a:xfrm>
              <a:off x="2155824" y="4379243"/>
              <a:ext cx="403200" cy="45719"/>
            </a:xfrm>
            <a:prstGeom prst="rect">
              <a:avLst/>
            </a:prstGeom>
            <a:solidFill>
              <a:srgbClr val="1B9D9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E82398F-C5DA-4798-B937-370B1044318A}"/>
                </a:ext>
              </a:extLst>
            </p:cNvPr>
            <p:cNvSpPr/>
            <p:nvPr/>
          </p:nvSpPr>
          <p:spPr>
            <a:xfrm>
              <a:off x="3148011" y="5175200"/>
              <a:ext cx="398896" cy="18000"/>
            </a:xfrm>
            <a:prstGeom prst="rect">
              <a:avLst/>
            </a:prstGeom>
            <a:solidFill>
              <a:srgbClr val="C2D8D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F49355A-0AE0-47CE-A598-E38A18797134}"/>
                </a:ext>
              </a:extLst>
            </p:cNvPr>
            <p:cNvSpPr/>
            <p:nvPr/>
          </p:nvSpPr>
          <p:spPr>
            <a:xfrm>
              <a:off x="1734312" y="3740150"/>
              <a:ext cx="2232000" cy="2051050"/>
            </a:xfrm>
            <a:prstGeom prst="rect">
              <a:avLst/>
            </a:prstGeom>
            <a:noFill/>
            <a:ln w="9525">
              <a:solidFill>
                <a:srgbClr val="1B9D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3CBCAA0-A9C0-49DD-8BD0-B7130869EBD4}"/>
                </a:ext>
              </a:extLst>
            </p:cNvPr>
            <p:cNvSpPr/>
            <p:nvPr/>
          </p:nvSpPr>
          <p:spPr>
            <a:xfrm>
              <a:off x="4506136" y="4683495"/>
              <a:ext cx="403200" cy="496221"/>
            </a:xfrm>
            <a:prstGeom prst="rect">
              <a:avLst/>
            </a:prstGeom>
            <a:solidFill>
              <a:srgbClr val="C2D8D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57162E7-0EC4-4929-ADFF-42644AC658D5}"/>
                </a:ext>
              </a:extLst>
            </p:cNvPr>
            <p:cNvSpPr/>
            <p:nvPr/>
          </p:nvSpPr>
          <p:spPr>
            <a:xfrm>
              <a:off x="4506136" y="4290616"/>
              <a:ext cx="403200" cy="402034"/>
            </a:xfrm>
            <a:prstGeom prst="rect">
              <a:avLst/>
            </a:prstGeom>
            <a:solidFill>
              <a:srgbClr val="1B9D9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E841E85-6B97-4F3F-809B-B09BB8C5BEB6}"/>
                </a:ext>
              </a:extLst>
            </p:cNvPr>
            <p:cNvSpPr/>
            <p:nvPr/>
          </p:nvSpPr>
          <p:spPr>
            <a:xfrm>
              <a:off x="5496171" y="5086351"/>
              <a:ext cx="403200" cy="100498"/>
            </a:xfrm>
            <a:prstGeom prst="rect">
              <a:avLst/>
            </a:prstGeom>
            <a:solidFill>
              <a:srgbClr val="C2D8D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E48F628-6A28-4897-9601-6ED2B7C0FC88}"/>
                </a:ext>
              </a:extLst>
            </p:cNvPr>
            <p:cNvSpPr/>
            <p:nvPr/>
          </p:nvSpPr>
          <p:spPr>
            <a:xfrm>
              <a:off x="4084624" y="3733799"/>
              <a:ext cx="2232000" cy="2051050"/>
            </a:xfrm>
            <a:prstGeom prst="rect">
              <a:avLst/>
            </a:prstGeom>
            <a:noFill/>
            <a:ln w="9525">
              <a:solidFill>
                <a:srgbClr val="1B9D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0504885-C785-4069-9AFA-80D1096EECA9}"/>
                </a:ext>
              </a:extLst>
            </p:cNvPr>
            <p:cNvSpPr/>
            <p:nvPr/>
          </p:nvSpPr>
          <p:spPr>
            <a:xfrm>
              <a:off x="5496171" y="4907754"/>
              <a:ext cx="403200" cy="180000"/>
            </a:xfrm>
            <a:prstGeom prst="rect">
              <a:avLst/>
            </a:prstGeom>
            <a:solidFill>
              <a:srgbClr val="1B9D9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id="{BF05D724-87C2-49D4-BADA-1149262E4B0F}"/>
                </a:ext>
              </a:extLst>
            </p:cNvPr>
            <p:cNvSpPr txBox="1"/>
            <p:nvPr/>
          </p:nvSpPr>
          <p:spPr>
            <a:xfrm>
              <a:off x="2217852" y="3831779"/>
              <a:ext cx="126492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 dirty="0">
                  <a:solidFill>
                    <a:schemeClr val="tx2"/>
                  </a:solidFill>
                </a:rPr>
                <a:t>PAMCHR + VAR</a:t>
              </a:r>
            </a:p>
          </p:txBody>
        </p:sp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AC8B0D85-3BC4-4211-9E9C-94FBABE11058}"/>
                </a:ext>
              </a:extLst>
            </p:cNvPr>
            <p:cNvSpPr txBox="1"/>
            <p:nvPr/>
          </p:nvSpPr>
          <p:spPr>
            <a:xfrm>
              <a:off x="4728983" y="3831779"/>
              <a:ext cx="94328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 dirty="0">
                  <a:solidFill>
                    <a:schemeClr val="tx2"/>
                  </a:solidFill>
                </a:rPr>
                <a:t>3 x VAR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BCF5EDA-A86F-4FD7-8811-8EF07D9852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11832" y="5557269"/>
              <a:ext cx="91134" cy="90000"/>
            </a:xfrm>
            <a:prstGeom prst="rect">
              <a:avLst/>
            </a:prstGeom>
            <a:solidFill>
              <a:srgbClr val="D1E1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411B06F-3CBC-426D-B388-83927CDFAF8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97938" y="5557269"/>
              <a:ext cx="91134" cy="90000"/>
            </a:xfrm>
            <a:prstGeom prst="rect">
              <a:avLst/>
            </a:prstGeom>
            <a:solidFill>
              <a:srgbClr val="1B9D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080F68DC-368F-41C3-959D-5437C5928F28}"/>
                </a:ext>
              </a:extLst>
            </p:cNvPr>
            <p:cNvSpPr txBox="1"/>
            <p:nvPr/>
          </p:nvSpPr>
          <p:spPr>
            <a:xfrm>
              <a:off x="2127113" y="5238530"/>
              <a:ext cx="46062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 err="1">
                  <a:solidFill>
                    <a:schemeClr val="tx2"/>
                  </a:solidFill>
                </a:rPr>
                <a:t>Early</a:t>
              </a:r>
              <a:endParaRPr lang="fr-FR" sz="900" dirty="0">
                <a:solidFill>
                  <a:schemeClr val="tx2"/>
                </a:solidFill>
              </a:endParaRPr>
            </a:p>
          </p:txBody>
        </p:sp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E8243209-EBE6-4352-B209-B94BD9EA41E2}"/>
                </a:ext>
              </a:extLst>
            </p:cNvPr>
            <p:cNvSpPr txBox="1"/>
            <p:nvPr/>
          </p:nvSpPr>
          <p:spPr>
            <a:xfrm>
              <a:off x="3057573" y="5238530"/>
              <a:ext cx="57977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 err="1">
                  <a:solidFill>
                    <a:schemeClr val="tx2"/>
                  </a:solidFill>
                </a:rPr>
                <a:t>Recent</a:t>
              </a:r>
              <a:endParaRPr lang="fr-FR" sz="900" dirty="0">
                <a:solidFill>
                  <a:schemeClr val="tx2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C9C8DA3-F54C-4626-A371-B7985B9C5A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2144" y="5560066"/>
              <a:ext cx="91134" cy="90000"/>
            </a:xfrm>
            <a:prstGeom prst="rect">
              <a:avLst/>
            </a:prstGeom>
            <a:solidFill>
              <a:srgbClr val="D1E1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123143D-AA6C-4ED4-A31C-D0D52F6FB0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48250" y="5560066"/>
              <a:ext cx="91134" cy="90000"/>
            </a:xfrm>
            <a:prstGeom prst="rect">
              <a:avLst/>
            </a:prstGeom>
            <a:solidFill>
              <a:srgbClr val="1B9D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14CC4CE5-8E17-4865-8127-F6E650D146D3}"/>
                </a:ext>
              </a:extLst>
            </p:cNvPr>
            <p:cNvSpPr txBox="1"/>
            <p:nvPr/>
          </p:nvSpPr>
          <p:spPr>
            <a:xfrm>
              <a:off x="4477425" y="5238530"/>
              <a:ext cx="46062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 err="1">
                  <a:solidFill>
                    <a:schemeClr val="tx2"/>
                  </a:solidFill>
                </a:rPr>
                <a:t>Early</a:t>
              </a:r>
              <a:endParaRPr lang="fr-FR" sz="900" dirty="0">
                <a:solidFill>
                  <a:schemeClr val="tx2"/>
                </a:solidFill>
              </a:endParaRPr>
            </a:p>
          </p:txBody>
        </p:sp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1DF5E048-F614-4F2B-8937-940397B29EA5}"/>
                </a:ext>
              </a:extLst>
            </p:cNvPr>
            <p:cNvSpPr txBox="1"/>
            <p:nvPr/>
          </p:nvSpPr>
          <p:spPr>
            <a:xfrm>
              <a:off x="5407885" y="5238530"/>
              <a:ext cx="57977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dirty="0" err="1">
                  <a:solidFill>
                    <a:schemeClr val="tx2"/>
                  </a:solidFill>
                </a:rPr>
                <a:t>Recent</a:t>
              </a:r>
              <a:endParaRPr lang="fr-FR" sz="9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95164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3F8FF648-0615-4DDB-AE74-3385B884A2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866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9E01E93E-020E-403A-BAC8-249A27A36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61732E7-6B88-436A-88C8-F72CE669AC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8AD1D49C-0105-49B1-9EC6-5C743DBF75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3AC37F6-1402-4245-8B3D-2A61D20DFD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1929" y="6191198"/>
            <a:ext cx="3420000" cy="440684"/>
          </a:xfrm>
        </p:spPr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3829C1B-8D8D-41B0-996D-2DAE39B63FA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40000" y="6192682"/>
            <a:ext cx="288033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7</a:t>
            </a:fld>
            <a:endParaRPr lang="fr-FR" dirty="0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49FF7D44-4A91-41FD-90F5-CE8E834F309F}"/>
              </a:ext>
            </a:extLst>
          </p:cNvPr>
          <p:cNvGrpSpPr/>
          <p:nvPr/>
        </p:nvGrpSpPr>
        <p:grpSpPr>
          <a:xfrm>
            <a:off x="1070461" y="1633197"/>
            <a:ext cx="1610267" cy="503354"/>
            <a:chOff x="399215" y="3936733"/>
            <a:chExt cx="1610267" cy="50335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973582B-DE58-4ECB-BE82-9C7C1F4B208D}"/>
                </a:ext>
              </a:extLst>
            </p:cNvPr>
            <p:cNvSpPr/>
            <p:nvPr/>
          </p:nvSpPr>
          <p:spPr>
            <a:xfrm>
              <a:off x="418431" y="3936733"/>
              <a:ext cx="1571835" cy="503354"/>
            </a:xfrm>
            <a:prstGeom prst="rect">
              <a:avLst/>
            </a:prstGeom>
            <a:solidFill>
              <a:srgbClr val="1B9D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D9EC0DF9-8EF5-49A1-B654-29CEF2C907A3}"/>
                </a:ext>
              </a:extLst>
            </p:cNvPr>
            <p:cNvSpPr txBox="1"/>
            <p:nvPr/>
          </p:nvSpPr>
          <p:spPr>
            <a:xfrm>
              <a:off x="399215" y="4034735"/>
              <a:ext cx="161026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err="1">
                  <a:solidFill>
                    <a:schemeClr val="bg1"/>
                  </a:solidFill>
                </a:rPr>
                <a:t>Recycling</a:t>
              </a:r>
              <a:endParaRPr lang="fr-FR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Arrow3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58A0356-ED53-4894-82C7-26A3E9E33FCA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2228790" y="2559911"/>
            <a:ext cx="206952" cy="180000"/>
            <a:chOff x="1412032" y="2732632"/>
            <a:chExt cx="1016496" cy="884112"/>
          </a:xfrm>
          <a:solidFill>
            <a:srgbClr val="1BAE8F"/>
          </a:solidFill>
        </p:grpSpPr>
        <p:sp>
          <p:nvSpPr>
            <p:cNvPr id="17" name="Chevron 177">
              <a:extLst>
                <a:ext uri="{FF2B5EF4-FFF2-40B4-BE49-F238E27FC236}">
                  <a16:creationId xmlns:a16="http://schemas.microsoft.com/office/drawing/2014/main" id="{3DA86D6D-E63D-46E0-A1DE-E341786E6B89}"/>
                </a:ext>
              </a:extLst>
            </p:cNvPr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Chevron 178">
              <a:extLst>
                <a:ext uri="{FF2B5EF4-FFF2-40B4-BE49-F238E27FC236}">
                  <a16:creationId xmlns:a16="http://schemas.microsoft.com/office/drawing/2014/main" id="{D6D3769E-87C2-475E-BF14-8A8DF1501B1B}"/>
                </a:ext>
              </a:extLst>
            </p:cNvPr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AutoShape 11">
            <a:extLst>
              <a:ext uri="{FF2B5EF4-FFF2-40B4-BE49-F238E27FC236}">
                <a16:creationId xmlns:a16="http://schemas.microsoft.com/office/drawing/2014/main" id="{95710EC5-0221-4A7B-BF16-C0ECCBFC4D89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1308768" y="1751163"/>
            <a:ext cx="1137795" cy="222326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1B9D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16" name="Text Box 12">
            <a:extLst>
              <a:ext uri="{FF2B5EF4-FFF2-40B4-BE49-F238E27FC236}">
                <a16:creationId xmlns:a16="http://schemas.microsoft.com/office/drawing/2014/main" id="{D2794FB1-7B2F-415A-92AA-D1AEDF551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3158" y="2298585"/>
            <a:ext cx="222326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fr-FR" altLang="fr-FR" sz="1400" dirty="0" err="1">
                <a:solidFill>
                  <a:schemeClr val="tx2"/>
                </a:solidFill>
              </a:rPr>
              <a:t>Revert</a:t>
            </a:r>
            <a:r>
              <a:rPr lang="fr-FR" altLang="fr-FR" sz="1400" dirty="0">
                <a:solidFill>
                  <a:schemeClr val="tx2"/>
                </a:solidFill>
              </a:rPr>
              <a:t> </a:t>
            </a:r>
            <a:r>
              <a:rPr lang="fr-FR" altLang="fr-FR" sz="1400" dirty="0" err="1">
                <a:solidFill>
                  <a:schemeClr val="tx2"/>
                </a:solidFill>
              </a:rPr>
              <a:t>processing</a:t>
            </a:r>
            <a:endParaRPr lang="fr-FR" altLang="fr-FR" sz="1400" dirty="0">
              <a:solidFill>
                <a:schemeClr val="tx2"/>
              </a:solidFill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1B24D68-E281-46A7-942C-5BDEDD59AEA5}"/>
              </a:ext>
            </a:extLst>
          </p:cNvPr>
          <p:cNvSpPr txBox="1"/>
          <p:nvPr/>
        </p:nvSpPr>
        <p:spPr>
          <a:xfrm>
            <a:off x="1056557" y="2662113"/>
            <a:ext cx="17446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i="1">
                <a:solidFill>
                  <a:schemeClr val="tx2"/>
                </a:solidFill>
              </a:rPr>
              <a:t>Selec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i="1">
                <a:solidFill>
                  <a:schemeClr val="tx2"/>
                </a:solidFill>
              </a:rPr>
              <a:t>Cleanin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i="1">
                <a:solidFill>
                  <a:schemeClr val="tx2"/>
                </a:solidFill>
              </a:rPr>
              <a:t>Compacting</a:t>
            </a:r>
          </a:p>
        </p:txBody>
      </p:sp>
      <p:sp>
        <p:nvSpPr>
          <p:cNvPr id="20" name="AutoShape 101">
            <a:extLst>
              <a:ext uri="{FF2B5EF4-FFF2-40B4-BE49-F238E27FC236}">
                <a16:creationId xmlns:a16="http://schemas.microsoft.com/office/drawing/2014/main" id="{C4145CCD-BDD7-4D80-8B95-E3A744CA81B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1660329" y="3154743"/>
            <a:ext cx="434673" cy="150024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1B9D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21" name="Text Box 102">
            <a:extLst>
              <a:ext uri="{FF2B5EF4-FFF2-40B4-BE49-F238E27FC236}">
                <a16:creationId xmlns:a16="http://schemas.microsoft.com/office/drawing/2014/main" id="{E6411822-F67C-4A7B-B612-5EAC9C6AFA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86245" y="3742034"/>
            <a:ext cx="120485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ts val="400"/>
              </a:spcBef>
            </a:pPr>
            <a:r>
              <a:rPr lang="fr-FR" altLang="fr-FR" sz="1400" dirty="0">
                <a:solidFill>
                  <a:schemeClr val="tx2"/>
                </a:solidFill>
              </a:rPr>
              <a:t>PAMCHR</a:t>
            </a:r>
          </a:p>
        </p:txBody>
      </p:sp>
      <p:sp>
        <p:nvSpPr>
          <p:cNvPr id="23" name="AutoShape 81">
            <a:extLst>
              <a:ext uri="{FF2B5EF4-FFF2-40B4-BE49-F238E27FC236}">
                <a16:creationId xmlns:a16="http://schemas.microsoft.com/office/drawing/2014/main" id="{D46B80E3-070D-4C45-A8DA-DC0FCC2CB0AB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1692564" y="3569897"/>
            <a:ext cx="370203" cy="201572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1B9D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24" name="Text Box 82">
            <a:extLst>
              <a:ext uri="{FF2B5EF4-FFF2-40B4-BE49-F238E27FC236}">
                <a16:creationId xmlns:a16="http://schemas.microsoft.com/office/drawing/2014/main" id="{28720635-1C8F-4AF4-8EE4-B36E9C5202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2576" y="4430129"/>
            <a:ext cx="200295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ts val="400"/>
              </a:spcBef>
            </a:pPr>
            <a:r>
              <a:rPr lang="fr-FR" altLang="fr-FR" sz="1400" dirty="0">
                <a:solidFill>
                  <a:schemeClr val="tx2"/>
                </a:solidFill>
              </a:rPr>
              <a:t>Vacuum Arc </a:t>
            </a:r>
            <a:r>
              <a:rPr lang="fr-FR" altLang="fr-FR" sz="1400" dirty="0" err="1">
                <a:solidFill>
                  <a:schemeClr val="tx2"/>
                </a:solidFill>
              </a:rPr>
              <a:t>Remelting</a:t>
            </a:r>
            <a:endParaRPr lang="fr-FR" altLang="fr-FR" sz="1400" dirty="0">
              <a:solidFill>
                <a:schemeClr val="tx2"/>
              </a:solidFill>
            </a:endParaRPr>
          </a:p>
        </p:txBody>
      </p:sp>
      <p:grpSp>
        <p:nvGrpSpPr>
          <p:cNvPr id="25" name="Arrow3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61E1193-679B-4CF8-8787-B1732B4FDB1B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1774189" y="3471273"/>
            <a:ext cx="206952" cy="180000"/>
            <a:chOff x="1412032" y="2732632"/>
            <a:chExt cx="1016496" cy="884112"/>
          </a:xfrm>
          <a:solidFill>
            <a:srgbClr val="1BAE8F"/>
          </a:solidFill>
        </p:grpSpPr>
        <p:sp>
          <p:nvSpPr>
            <p:cNvPr id="26" name="Chevron 177">
              <a:extLst>
                <a:ext uri="{FF2B5EF4-FFF2-40B4-BE49-F238E27FC236}">
                  <a16:creationId xmlns:a16="http://schemas.microsoft.com/office/drawing/2014/main" id="{BB5BC6C7-66FB-4BC7-948B-5AEC1A159F1C}"/>
                </a:ext>
              </a:extLst>
            </p:cNvPr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rgbClr val="1BAE8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Chevron 178">
              <a:extLst>
                <a:ext uri="{FF2B5EF4-FFF2-40B4-BE49-F238E27FC236}">
                  <a16:creationId xmlns:a16="http://schemas.microsoft.com/office/drawing/2014/main" id="{7BC862C3-AB2F-4FA0-BB45-1808D2E205CA}"/>
                </a:ext>
              </a:extLst>
            </p:cNvPr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rgbClr val="1BAE8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Arrow3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A248F2-F914-4B17-844C-3A8563FA5462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1774189" y="4162881"/>
            <a:ext cx="206952" cy="180000"/>
            <a:chOff x="1412032" y="2732632"/>
            <a:chExt cx="1016496" cy="884112"/>
          </a:xfrm>
          <a:solidFill>
            <a:srgbClr val="1BAE8F"/>
          </a:solidFill>
        </p:grpSpPr>
        <p:sp>
          <p:nvSpPr>
            <p:cNvPr id="29" name="Chevron 177">
              <a:extLst>
                <a:ext uri="{FF2B5EF4-FFF2-40B4-BE49-F238E27FC236}">
                  <a16:creationId xmlns:a16="http://schemas.microsoft.com/office/drawing/2014/main" id="{77D76989-78FE-4C79-B51C-B1D2FB8D61C1}"/>
                </a:ext>
              </a:extLst>
            </p:cNvPr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rgbClr val="1BAE8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Chevron 178">
              <a:extLst>
                <a:ext uri="{FF2B5EF4-FFF2-40B4-BE49-F238E27FC236}">
                  <a16:creationId xmlns:a16="http://schemas.microsoft.com/office/drawing/2014/main" id="{36E7BA8A-8370-4CC7-B27D-2358CF6E4DBC}"/>
                </a:ext>
              </a:extLst>
            </p:cNvPr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rgbClr val="1BAE8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533EED9A-F4AE-4FDA-9F76-6855CA2A85F5}"/>
              </a:ext>
            </a:extLst>
          </p:cNvPr>
          <p:cNvGrpSpPr/>
          <p:nvPr/>
        </p:nvGrpSpPr>
        <p:grpSpPr>
          <a:xfrm>
            <a:off x="4557519" y="1633197"/>
            <a:ext cx="1610267" cy="503355"/>
            <a:chOff x="399215" y="5530890"/>
            <a:chExt cx="1610267" cy="503355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E3799D9-EAD5-4BCD-86D1-F96B7FAA00D2}"/>
                </a:ext>
              </a:extLst>
            </p:cNvPr>
            <p:cNvSpPr/>
            <p:nvPr/>
          </p:nvSpPr>
          <p:spPr>
            <a:xfrm>
              <a:off x="418431" y="5530890"/>
              <a:ext cx="1571835" cy="503355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3" name="ZoneTexte 52">
              <a:extLst>
                <a:ext uri="{FF2B5EF4-FFF2-40B4-BE49-F238E27FC236}">
                  <a16:creationId xmlns:a16="http://schemas.microsoft.com/office/drawing/2014/main" id="{0CD61583-2C23-45D0-92F4-6F27DA4DF1D0}"/>
                </a:ext>
              </a:extLst>
            </p:cNvPr>
            <p:cNvSpPr txBox="1"/>
            <p:nvPr/>
          </p:nvSpPr>
          <p:spPr>
            <a:xfrm>
              <a:off x="399215" y="5635350"/>
              <a:ext cx="161026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err="1">
                  <a:solidFill>
                    <a:schemeClr val="bg1"/>
                  </a:solidFill>
                </a:rPr>
                <a:t>Sponge</a:t>
              </a:r>
              <a:endParaRPr lang="fr-FR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5" name="AutoShape 11">
            <a:extLst>
              <a:ext uri="{FF2B5EF4-FFF2-40B4-BE49-F238E27FC236}">
                <a16:creationId xmlns:a16="http://schemas.microsoft.com/office/drawing/2014/main" id="{323161CB-9185-40F1-A3F3-5236C2F8F249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241422" y="1739653"/>
            <a:ext cx="307778" cy="142564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56" name="Text Box 12">
            <a:extLst>
              <a:ext uri="{FF2B5EF4-FFF2-40B4-BE49-F238E27FC236}">
                <a16:creationId xmlns:a16="http://schemas.microsoft.com/office/drawing/2014/main" id="{8E82EA2A-E540-47A2-9DA3-68458CF5D4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1312" y="2306484"/>
            <a:ext cx="118799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ts val="400"/>
              </a:spcBef>
            </a:pPr>
            <a:r>
              <a:rPr lang="fr-FR" altLang="fr-FR" sz="1400" dirty="0" err="1">
                <a:solidFill>
                  <a:schemeClr val="tx2"/>
                </a:solidFill>
              </a:rPr>
              <a:t>Sponges</a:t>
            </a:r>
            <a:endParaRPr lang="fr-FR" altLang="fr-FR" sz="1400" dirty="0">
              <a:solidFill>
                <a:schemeClr val="tx2"/>
              </a:solidFill>
            </a:endParaRPr>
          </a:p>
        </p:txBody>
      </p:sp>
      <p:sp>
        <p:nvSpPr>
          <p:cNvPr id="58" name="AutoShape 25">
            <a:extLst>
              <a:ext uri="{FF2B5EF4-FFF2-40B4-BE49-F238E27FC236}">
                <a16:creationId xmlns:a16="http://schemas.microsoft.com/office/drawing/2014/main" id="{6D0569C2-BC53-4332-8C1D-696B285CD5F4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193853" y="2168003"/>
            <a:ext cx="380093" cy="205200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59" name="Text Box 26">
            <a:extLst>
              <a:ext uri="{FF2B5EF4-FFF2-40B4-BE49-F238E27FC236}">
                <a16:creationId xmlns:a16="http://schemas.microsoft.com/office/drawing/2014/main" id="{9F2389BA-F0A4-4976-81F1-112D941A8D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1020" y="3044470"/>
            <a:ext cx="222326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ts val="400"/>
              </a:spcBef>
            </a:pPr>
            <a:r>
              <a:rPr lang="fr-FR" altLang="fr-FR" sz="1400" dirty="0">
                <a:solidFill>
                  <a:schemeClr val="tx2"/>
                </a:solidFill>
              </a:rPr>
              <a:t>Vacuum Arc </a:t>
            </a:r>
            <a:r>
              <a:rPr lang="fr-FR" altLang="fr-FR" sz="1400" dirty="0" err="1">
                <a:solidFill>
                  <a:schemeClr val="tx2"/>
                </a:solidFill>
              </a:rPr>
              <a:t>Remelting</a:t>
            </a:r>
            <a:endParaRPr lang="fr-FR" altLang="fr-FR" sz="1400" dirty="0">
              <a:solidFill>
                <a:schemeClr val="tx2"/>
              </a:solidFill>
            </a:endParaRPr>
          </a:p>
        </p:txBody>
      </p:sp>
      <p:grpSp>
        <p:nvGrpSpPr>
          <p:cNvPr id="60" name="Arrow3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02AB0F-2697-4C5A-998C-C3655CB18931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5280423" y="2715161"/>
            <a:ext cx="206952" cy="180000"/>
            <a:chOff x="1412032" y="2732632"/>
            <a:chExt cx="1016496" cy="884112"/>
          </a:xfrm>
          <a:solidFill>
            <a:srgbClr val="1BAE8F"/>
          </a:solidFill>
        </p:grpSpPr>
        <p:sp>
          <p:nvSpPr>
            <p:cNvPr id="61" name="Chevron 177">
              <a:extLst>
                <a:ext uri="{FF2B5EF4-FFF2-40B4-BE49-F238E27FC236}">
                  <a16:creationId xmlns:a16="http://schemas.microsoft.com/office/drawing/2014/main" id="{CF8C9825-A7A9-4A36-B721-0559539E8AA9}"/>
                </a:ext>
              </a:extLst>
            </p:cNvPr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chemeClr val="accent5">
                <a:lumMod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Chevron 178">
              <a:extLst>
                <a:ext uri="{FF2B5EF4-FFF2-40B4-BE49-F238E27FC236}">
                  <a16:creationId xmlns:a16="http://schemas.microsoft.com/office/drawing/2014/main" id="{E7D13452-D29A-4716-946E-BE931A3B4464}"/>
                </a:ext>
              </a:extLst>
            </p:cNvPr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chemeClr val="accent5">
                <a:lumMod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3" name="AutoShape 25">
            <a:extLst>
              <a:ext uri="{FF2B5EF4-FFF2-40B4-BE49-F238E27FC236}">
                <a16:creationId xmlns:a16="http://schemas.microsoft.com/office/drawing/2014/main" id="{5580A040-F525-4440-83A1-AE8C678C4850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193853" y="2903390"/>
            <a:ext cx="380093" cy="205200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44" name="Text Box 26">
            <a:extLst>
              <a:ext uri="{FF2B5EF4-FFF2-40B4-BE49-F238E27FC236}">
                <a16:creationId xmlns:a16="http://schemas.microsoft.com/office/drawing/2014/main" id="{822F6C6C-E7F5-4EC7-BAD2-35059E980D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53691" y="3791372"/>
            <a:ext cx="201792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ts val="400"/>
              </a:spcBef>
            </a:pPr>
            <a:r>
              <a:rPr lang="fr-FR" altLang="fr-FR" sz="1400" dirty="0">
                <a:solidFill>
                  <a:schemeClr val="tx2"/>
                </a:solidFill>
              </a:rPr>
              <a:t>Vacuum Arc </a:t>
            </a:r>
            <a:r>
              <a:rPr lang="fr-FR" altLang="fr-FR" sz="1400" dirty="0" err="1">
                <a:solidFill>
                  <a:schemeClr val="tx2"/>
                </a:solidFill>
              </a:rPr>
              <a:t>Remelting</a:t>
            </a:r>
            <a:endParaRPr lang="fr-FR" altLang="fr-FR" sz="1400" dirty="0">
              <a:solidFill>
                <a:schemeClr val="tx2"/>
              </a:solidFill>
            </a:endParaRPr>
          </a:p>
        </p:txBody>
      </p:sp>
      <p:grpSp>
        <p:nvGrpSpPr>
          <p:cNvPr id="45" name="Arrow3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BB132E-49A9-4766-9558-7BBC6EC94299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5280423" y="3499456"/>
            <a:ext cx="206952" cy="180000"/>
            <a:chOff x="1412032" y="2732632"/>
            <a:chExt cx="1016496" cy="884112"/>
          </a:xfrm>
          <a:solidFill>
            <a:srgbClr val="1BAE8F"/>
          </a:solidFill>
        </p:grpSpPr>
        <p:sp>
          <p:nvSpPr>
            <p:cNvPr id="46" name="Chevron 177">
              <a:extLst>
                <a:ext uri="{FF2B5EF4-FFF2-40B4-BE49-F238E27FC236}">
                  <a16:creationId xmlns:a16="http://schemas.microsoft.com/office/drawing/2014/main" id="{DD60AB4B-3084-44D8-A6ED-66F7EAAD8D16}"/>
                </a:ext>
              </a:extLst>
            </p:cNvPr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chemeClr val="accent5">
                <a:lumMod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Chevron 178">
              <a:extLst>
                <a:ext uri="{FF2B5EF4-FFF2-40B4-BE49-F238E27FC236}">
                  <a16:creationId xmlns:a16="http://schemas.microsoft.com/office/drawing/2014/main" id="{48D66F54-DF73-4B83-9174-31CBA3F1B981}"/>
                </a:ext>
              </a:extLst>
            </p:cNvPr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solidFill>
              <a:schemeClr val="accent5">
                <a:lumMod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98126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2C6249F-B10F-4F17-9BA2-9B9456EC3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D16614F-17FA-47B2-8718-3BD886A4A9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F6B9E1A-0A7D-4CAE-BC7D-0EAE8CF4B3D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D2283F6-AF40-45B6-B80C-FA1EA9CE17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/>
              <a:t>EcoTitanium / UKAD : les avantages de la filière Titan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9EA9CF0-CF65-4F4C-BDCC-56E10DA714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8</a:t>
            </a:fld>
            <a:endParaRPr lang="fr-FR" dirty="0"/>
          </a:p>
        </p:txBody>
      </p:sp>
      <p:graphicFrame>
        <p:nvGraphicFramePr>
          <p:cNvPr id="8" name="Graphique 7">
            <a:extLst>
              <a:ext uri="{FF2B5EF4-FFF2-40B4-BE49-F238E27FC236}">
                <a16:creationId xmlns:a16="http://schemas.microsoft.com/office/drawing/2014/main" id="{B7F13108-8026-4055-8847-0B6A16B7C110}"/>
              </a:ext>
            </a:extLst>
          </p:cNvPr>
          <p:cNvGraphicFramePr>
            <a:graphicFrameLocks noGrp="1"/>
          </p:cNvGraphicFramePr>
          <p:nvPr/>
        </p:nvGraphicFramePr>
        <p:xfrm>
          <a:off x="1107503" y="1952881"/>
          <a:ext cx="5680996" cy="3212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ZoneTexte 1">
            <a:extLst>
              <a:ext uri="{FF2B5EF4-FFF2-40B4-BE49-F238E27FC236}">
                <a16:creationId xmlns:a16="http://schemas.microsoft.com/office/drawing/2014/main" id="{5C09DDA8-4AC4-46BC-90DC-FF99D3BECC4E}"/>
              </a:ext>
            </a:extLst>
          </p:cNvPr>
          <p:cNvSpPr txBox="1"/>
          <p:nvPr/>
        </p:nvSpPr>
        <p:spPr>
          <a:xfrm>
            <a:off x="5969001" y="4094989"/>
            <a:ext cx="7758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fr-FR" sz="800" dirty="0" err="1">
                <a:solidFill>
                  <a:schemeClr val="tx2"/>
                </a:solidFill>
              </a:rPr>
              <a:t>Sponges</a:t>
            </a:r>
            <a:endParaRPr lang="fr-FR" sz="800" dirty="0">
              <a:solidFill>
                <a:schemeClr val="tx2"/>
              </a:solidFill>
            </a:endParaRPr>
          </a:p>
        </p:txBody>
      </p:sp>
      <p:sp>
        <p:nvSpPr>
          <p:cNvPr id="10" name="ZoneTexte 1">
            <a:extLst>
              <a:ext uri="{FF2B5EF4-FFF2-40B4-BE49-F238E27FC236}">
                <a16:creationId xmlns:a16="http://schemas.microsoft.com/office/drawing/2014/main" id="{FAAE77F7-654D-4AEF-9DDC-139283762CA4}"/>
              </a:ext>
            </a:extLst>
          </p:cNvPr>
          <p:cNvSpPr txBox="1"/>
          <p:nvPr/>
        </p:nvSpPr>
        <p:spPr>
          <a:xfrm>
            <a:off x="5969001" y="4495813"/>
            <a:ext cx="11618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fr-FR" sz="800" dirty="0" err="1">
                <a:solidFill>
                  <a:schemeClr val="accent2"/>
                </a:solidFill>
              </a:rPr>
              <a:t>FerroTi</a:t>
            </a:r>
            <a:r>
              <a:rPr lang="fr-FR" sz="800" dirty="0">
                <a:solidFill>
                  <a:schemeClr val="accent2"/>
                </a:solidFill>
              </a:rPr>
              <a:t> </a:t>
            </a:r>
            <a:r>
              <a:rPr lang="fr-FR" sz="800" dirty="0" err="1">
                <a:solidFill>
                  <a:schemeClr val="accent2"/>
                </a:solidFill>
              </a:rPr>
              <a:t>scraps</a:t>
            </a:r>
            <a:endParaRPr lang="fr-FR" sz="800" dirty="0">
              <a:solidFill>
                <a:schemeClr val="accent2"/>
              </a:solidFill>
            </a:endParaRPr>
          </a:p>
        </p:txBody>
      </p:sp>
      <p:sp>
        <p:nvSpPr>
          <p:cNvPr id="11" name="ZoneTexte 1">
            <a:extLst>
              <a:ext uri="{FF2B5EF4-FFF2-40B4-BE49-F238E27FC236}">
                <a16:creationId xmlns:a16="http://schemas.microsoft.com/office/drawing/2014/main" id="{CD9B2A23-C306-4B42-9498-F0BED649CEC8}"/>
              </a:ext>
            </a:extLst>
          </p:cNvPr>
          <p:cNvSpPr txBox="1"/>
          <p:nvPr/>
        </p:nvSpPr>
        <p:spPr>
          <a:xfrm>
            <a:off x="5969001" y="4347170"/>
            <a:ext cx="7758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fr-FR" sz="800" dirty="0" err="1">
                <a:solidFill>
                  <a:srgbClr val="92D050"/>
                </a:solidFill>
              </a:rPr>
              <a:t>Scraps</a:t>
            </a:r>
            <a:endParaRPr lang="fr-FR" sz="800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27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qNq24opN4iYAB2njC4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072CF57F-0325-476D-9428-FF1AA9A6559C}" vid="{1667804D-70EB-4281-ACA3-E990F8D51FCC}"/>
    </a:ext>
  </a:extLst>
</a:theme>
</file>

<file path=ppt/theme/theme2.xml><?xml version="1.0" encoding="utf-8"?>
<a:theme xmlns:a="http://schemas.openxmlformats.org/drawingml/2006/main" name="Conception personnalisée">
  <a:themeElements>
    <a:clrScheme name="Personnalisé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15793"/>
      </a:accent1>
      <a:accent2>
        <a:srgbClr val="FA6414"/>
      </a:accent2>
      <a:accent3>
        <a:srgbClr val="1A003B"/>
      </a:accent3>
      <a:accent4>
        <a:srgbClr val="FBF315"/>
      </a:accent4>
      <a:accent5>
        <a:srgbClr val="8589B3"/>
      </a:accent5>
      <a:accent6>
        <a:srgbClr val="4D97A9"/>
      </a:accent6>
      <a:hlink>
        <a:srgbClr val="0563C1"/>
      </a:hlink>
      <a:folHlink>
        <a:srgbClr val="5E4D7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AUBERT&amp;DUVAL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B819F255-57F9-4B1D-AB7F-76E33A917C4A}" vid="{869ED258-25C0-47E6-944C-BF97BD6B4D0D}"/>
    </a:ext>
  </a:extLst>
</a:theme>
</file>

<file path=ppt/theme/theme4.xml><?xml version="1.0" encoding="utf-8"?>
<a:theme xmlns:a="http://schemas.openxmlformats.org/drawingml/2006/main" name="2_ERASTEEL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B819F255-57F9-4B1D-AB7F-76E33A917C4A}" vid="{54DB7B35-2F85-4150-AA57-186F44BF3FE3}"/>
    </a:ext>
  </a:extLst>
</a:theme>
</file>

<file path=ppt/theme/theme5.xml><?xml version="1.0" encoding="utf-8"?>
<a:theme xmlns:a="http://schemas.openxmlformats.org/drawingml/2006/main" name="3_AD+ES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B819F255-57F9-4B1D-AB7F-76E33A917C4A}" vid="{5278248A-07DD-46FD-9847-6640A84025F1}"/>
    </a:ext>
  </a:extLst>
</a:theme>
</file>

<file path=ppt/theme/theme6.xml><?xml version="1.0" encoding="utf-8"?>
<a:theme xmlns:a="http://schemas.openxmlformats.org/drawingml/2006/main" name="4-Vierg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5CEB523CDB99429A26264CCDC7FE26" ma:contentTypeVersion="2" ma:contentTypeDescription="Crée un document." ma:contentTypeScope="" ma:versionID="6d6d6d7d92be7be947e4180f93bbfc9d">
  <xsd:schema xmlns:xsd="http://www.w3.org/2001/XMLSchema" xmlns:xs="http://www.w3.org/2001/XMLSchema" xmlns:p="http://schemas.microsoft.com/office/2006/metadata/properties" xmlns:ns2="b8ef688f-7b24-4632-a7f9-875ef7cdbd5d" targetNamespace="http://schemas.microsoft.com/office/2006/metadata/properties" ma:root="true" ma:fieldsID="77cb5d8e2abaca1b7215421cafd38ff9" ns2:_="">
    <xsd:import namespace="b8ef688f-7b24-4632-a7f9-875ef7cdbd5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ef688f-7b24-4632-a7f9-875ef7cdbd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757B37-122F-4194-A436-93D2AE6613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D9A7912-EC6E-4444-A4EA-B5840CC050AF}">
  <ds:schemaRefs>
    <ds:schemaRef ds:uri="http://purl.org/dc/elements/1.1/"/>
    <ds:schemaRef ds:uri="http://schemas.microsoft.com/office/2006/metadata/properties"/>
    <ds:schemaRef ds:uri="b8ef688f-7b24-4632-a7f9-875ef7cdbd5d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312096B-CF92-4C97-A20D-975648A1EF4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ef688f-7b24-4632-a7f9-875ef7cdbd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090</TotalTime>
  <Words>391</Words>
  <Application>Microsoft Office PowerPoint</Application>
  <PresentationFormat>Affichage à l'écran (4:3)</PresentationFormat>
  <Paragraphs>136</Paragraphs>
  <Slides>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9" baseType="lpstr">
      <vt:lpstr>Arial</vt:lpstr>
      <vt:lpstr>Calibri</vt:lpstr>
      <vt:lpstr>Calibri Light</vt:lpstr>
      <vt:lpstr>Wingdings</vt:lpstr>
      <vt:lpstr>Default Theme</vt:lpstr>
      <vt:lpstr>Conception personnalisée</vt:lpstr>
      <vt:lpstr>1_AUBERT&amp;DUVAL</vt:lpstr>
      <vt:lpstr>2_ERASTEEL</vt:lpstr>
      <vt:lpstr>3_AD+ES</vt:lpstr>
      <vt:lpstr>4-Vierg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ROVENCHERE Sandrine</dc:creator>
  <cp:lastModifiedBy>PROVENCHERE Sandrine</cp:lastModifiedBy>
  <cp:revision>191</cp:revision>
  <dcterms:created xsi:type="dcterms:W3CDTF">2021-02-25T09:23:11Z</dcterms:created>
  <dcterms:modified xsi:type="dcterms:W3CDTF">2021-08-25T13:2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5CEB523CDB99429A26264CCDC7FE26</vt:lpwstr>
  </property>
</Properties>
</file>